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44" r:id="rId2"/>
  </p:sldMasterIdLst>
  <p:notesMasterIdLst>
    <p:notesMasterId r:id="rId15"/>
  </p:notesMasterIdLst>
  <p:handoutMasterIdLst>
    <p:handoutMasterId r:id="rId16"/>
  </p:handoutMasterIdLst>
  <p:sldIdLst>
    <p:sldId id="510" r:id="rId3"/>
    <p:sldId id="542" r:id="rId4"/>
    <p:sldId id="538" r:id="rId5"/>
    <p:sldId id="338" r:id="rId6"/>
    <p:sldId id="1152" r:id="rId7"/>
    <p:sldId id="1151" r:id="rId8"/>
    <p:sldId id="1153" r:id="rId9"/>
    <p:sldId id="1154" r:id="rId10"/>
    <p:sldId id="1149" r:id="rId11"/>
    <p:sldId id="545" r:id="rId12"/>
    <p:sldId id="534" r:id="rId13"/>
    <p:sldId id="286" r:id="rId14"/>
  </p:sldIdLst>
  <p:sldSz cx="12192000" cy="6858000"/>
  <p:notesSz cx="9926638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89"/>
    <a:srgbClr val="FFFF00"/>
    <a:srgbClr val="FF0000"/>
    <a:srgbClr val="0099FF"/>
    <a:srgbClr val="9933FF"/>
    <a:srgbClr val="00FF00"/>
    <a:srgbClr val="7F7F7F"/>
    <a:srgbClr val="00B0F0"/>
    <a:srgbClr val="FF3300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98" autoAdjust="0"/>
    <p:restoredTop sz="64319" autoAdjust="0"/>
  </p:normalViewPr>
  <p:slideViewPr>
    <p:cSldViewPr snapToGrid="0">
      <p:cViewPr varScale="1">
        <p:scale>
          <a:sx n="107" d="100"/>
          <a:sy n="107" d="100"/>
        </p:scale>
        <p:origin x="144" y="222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5"/>
            <a:ext cx="4302555" cy="340808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1765" y="5"/>
            <a:ext cx="4302555" cy="340808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r">
              <a:defRPr sz="1200"/>
            </a:lvl1pPr>
          </a:lstStyle>
          <a:p>
            <a:fld id="{1B5FB622-1A8D-4320-A59B-04C56AB073A2}" type="datetimeFigureOut">
              <a:rPr lang="ru-RU" smtClean="0"/>
              <a:pPr/>
              <a:t>22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1" y="6456875"/>
            <a:ext cx="4302555" cy="340808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1765" y="6456875"/>
            <a:ext cx="4302555" cy="340808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r">
              <a:defRPr sz="1200"/>
            </a:lvl1pPr>
          </a:lstStyle>
          <a:p>
            <a:fld id="{3A496C03-193C-48A5-B2CC-0E7B07A600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38706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3" y="7"/>
            <a:ext cx="4301541" cy="341065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09" y="7"/>
            <a:ext cx="4301541" cy="341065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r">
              <a:defRPr sz="1200"/>
            </a:lvl1pPr>
          </a:lstStyle>
          <a:p>
            <a:fld id="{9A5EBE62-2F05-40A6-9DB1-465C2C48E26C}" type="datetimeFigureOut">
              <a:rPr lang="ru-RU" smtClean="0"/>
              <a:pPr/>
              <a:t>22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84" tIns="45941" rIns="91884" bIns="459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3271386"/>
            <a:ext cx="7941310" cy="2676582"/>
          </a:xfrm>
          <a:prstGeom prst="rect">
            <a:avLst/>
          </a:prstGeom>
        </p:spPr>
        <p:txBody>
          <a:bodyPr vert="horz" lIns="91884" tIns="45941" rIns="91884" bIns="4594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3" y="6456621"/>
            <a:ext cx="4301541" cy="341065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09" y="6456621"/>
            <a:ext cx="4301541" cy="341065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r">
              <a:defRPr sz="1200"/>
            </a:lvl1pPr>
          </a:lstStyle>
          <a:p>
            <a:fld id="{A1E85537-4093-4201-B65A-427515B3CFD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897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EC84D-7D39-49E6-85CF-E0054CEEF88B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310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768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29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2765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64D14D4-2424-4D8E-B1DA-D7C23A8A818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895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352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3013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8102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734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22023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0902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9C283-88CC-48B7-863C-0E47688731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901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8ED42-75E4-4546-AFA2-021CCAF579E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800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81350-7DAD-498B-BB15-0E5DE97E96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10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=""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7459303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8D36E33F-58A3-2C41-B672-6E3E68DA1A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1081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7" name="Рисунок 2">
            <a:extLst>
              <a:ext uri="{FF2B5EF4-FFF2-40B4-BE49-F238E27FC236}">
                <a16:creationId xmlns="" xmlns:a16="http://schemas.microsoft.com/office/drawing/2014/main" id="{3B2B5356-D75D-4F42-BCA3-3EA90378412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18337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8" name="Рисунок 2">
            <a:extLst>
              <a:ext uri="{FF2B5EF4-FFF2-40B4-BE49-F238E27FC236}">
                <a16:creationId xmlns="" xmlns:a16="http://schemas.microsoft.com/office/drawing/2014/main" id="{837EB3C7-4AD3-4741-AF17-C9D8B4CE4C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5594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9" name="Рисунок 2">
            <a:extLst>
              <a:ext uri="{FF2B5EF4-FFF2-40B4-BE49-F238E27FC236}">
                <a16:creationId xmlns="" xmlns:a16="http://schemas.microsoft.com/office/drawing/2014/main" id="{1C67F7C5-10B0-744C-AE47-1BB7F2C463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2850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1" name="Рисунок 2">
            <a:extLst>
              <a:ext uri="{FF2B5EF4-FFF2-40B4-BE49-F238E27FC236}">
                <a16:creationId xmlns="" xmlns:a16="http://schemas.microsoft.com/office/drawing/2014/main" id="{032A1A0A-E2A3-F845-BBC3-793DD16C0F6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0107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2" name="Рисунок 2">
            <a:extLst>
              <a:ext uri="{FF2B5EF4-FFF2-40B4-BE49-F238E27FC236}">
                <a16:creationId xmlns="" xmlns:a16="http://schemas.microsoft.com/office/drawing/2014/main" id="{FE1C41BC-E172-B044-8023-5C089A56879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7363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3" name="Рисунок 2">
            <a:extLst>
              <a:ext uri="{FF2B5EF4-FFF2-40B4-BE49-F238E27FC236}">
                <a16:creationId xmlns="" xmlns:a16="http://schemas.microsoft.com/office/drawing/2014/main" id="{B6C615F0-3A31-C240-997E-FEC17ECFE1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71081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4" name="Рисунок 2">
            <a:extLst>
              <a:ext uri="{FF2B5EF4-FFF2-40B4-BE49-F238E27FC236}">
                <a16:creationId xmlns="" xmlns:a16="http://schemas.microsoft.com/office/drawing/2014/main" id="{3881F6F7-9883-E140-9C25-C7AB0977C9E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18337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5" name="Рисунок 2">
            <a:extLst>
              <a:ext uri="{FF2B5EF4-FFF2-40B4-BE49-F238E27FC236}">
                <a16:creationId xmlns="" xmlns:a16="http://schemas.microsoft.com/office/drawing/2014/main" id="{B1F31A74-229A-EF4C-BCE8-7DE84B4ADB2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5594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6" name="Рисунок 2">
            <a:extLst>
              <a:ext uri="{FF2B5EF4-FFF2-40B4-BE49-F238E27FC236}">
                <a16:creationId xmlns="" xmlns:a16="http://schemas.microsoft.com/office/drawing/2014/main" id="{3CD5F662-C087-A148-B3BF-1557D6696A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2850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7" name="Рисунок 2">
            <a:extLst>
              <a:ext uri="{FF2B5EF4-FFF2-40B4-BE49-F238E27FC236}">
                <a16:creationId xmlns="" xmlns:a16="http://schemas.microsoft.com/office/drawing/2014/main" id="{AEE8F5D1-FA84-E849-A0F8-194E15C7AF6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60107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8" name="Рисунок 2">
            <a:extLst>
              <a:ext uri="{FF2B5EF4-FFF2-40B4-BE49-F238E27FC236}">
                <a16:creationId xmlns="" xmlns:a16="http://schemas.microsoft.com/office/drawing/2014/main" id="{203EBA19-EF70-4C44-ACAC-C6E2CA4D876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7363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9" name="Рисунок 2">
            <a:extLst>
              <a:ext uri="{FF2B5EF4-FFF2-40B4-BE49-F238E27FC236}">
                <a16:creationId xmlns="" xmlns:a16="http://schemas.microsoft.com/office/drawing/2014/main" id="{091600B4-215C-B64B-99D1-199C5DDA245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71081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0" name="Рисунок 2">
            <a:extLst>
              <a:ext uri="{FF2B5EF4-FFF2-40B4-BE49-F238E27FC236}">
                <a16:creationId xmlns="" xmlns:a16="http://schemas.microsoft.com/office/drawing/2014/main" id="{64C4E337-ADD3-BB41-B198-45738D967E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18337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1" name="Рисунок 2">
            <a:extLst>
              <a:ext uri="{FF2B5EF4-FFF2-40B4-BE49-F238E27FC236}">
                <a16:creationId xmlns="" xmlns:a16="http://schemas.microsoft.com/office/drawing/2014/main" id="{27E259D7-419F-444C-90F8-75E8BCA89F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5594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2" name="Рисунок 2">
            <a:extLst>
              <a:ext uri="{FF2B5EF4-FFF2-40B4-BE49-F238E27FC236}">
                <a16:creationId xmlns="" xmlns:a16="http://schemas.microsoft.com/office/drawing/2014/main" id="{45C8F71B-F599-8849-AEEB-43D51CE9CC0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2850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3" name="Рисунок 2">
            <a:extLst>
              <a:ext uri="{FF2B5EF4-FFF2-40B4-BE49-F238E27FC236}">
                <a16:creationId xmlns="" xmlns:a16="http://schemas.microsoft.com/office/drawing/2014/main" id="{F02BDC7C-1317-2148-AB84-D5A5F5B7F9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60107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4" name="Рисунок 2">
            <a:extLst>
              <a:ext uri="{FF2B5EF4-FFF2-40B4-BE49-F238E27FC236}">
                <a16:creationId xmlns="" xmlns:a16="http://schemas.microsoft.com/office/drawing/2014/main" id="{6B685AEF-9E1D-084E-868D-7D14C94FA1E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7363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45610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6" r="9406" b="4609"/>
          <a:stretch/>
        </p:blipFill>
        <p:spPr>
          <a:xfrm>
            <a:off x="1" y="453530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6"/>
            <a:ext cx="9354039" cy="3648611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88000" tIns="1920000" rIns="288000" bIns="144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267" dirty="0">
                <a:solidFill>
                  <a:srgbClr val="00ADEF"/>
                </a:solidFill>
              </a:rPr>
              <a:t>
 </a:t>
            </a:r>
            <a:br>
              <a:rPr lang="en-US" sz="4267" dirty="0">
                <a:solidFill>
                  <a:srgbClr val="00ADEF"/>
                </a:solidFill>
              </a:rPr>
            </a:br>
            <a:endParaRPr lang="en-US" sz="4267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5"/>
            <a:ext cx="8478152" cy="6565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26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2876668"/>
            <a:ext cx="8478152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6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225463"/>
            <a:ext cx="8478152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415502"/>
            <a:ext cx="4822213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CONFIDENTIAL AND PROPRIETARY</a:t>
            </a:r>
          </a:p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1"/>
            <a:ext cx="136608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67" b="1">
                <a:solidFill>
                  <a:srgbClr val="FFFFFF"/>
                </a:solidFill>
              </a:rPr>
              <a:t>WORKING DRAFT</a:t>
            </a:r>
            <a:endParaRPr lang="ru-RU" sz="1067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1"/>
            <a:ext cx="380585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Last Modified 28/04/2017 17:22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3275256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Printed 4-сәу-17 14:11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71" y="64791"/>
            <a:ext cx="65" cy="16421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844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00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21167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170203" y="6621167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770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3" y="37256"/>
            <a:ext cx="863528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67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0782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3702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14737-6F05-4294-8B41-FE17A53E4C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44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2877F8-FF1E-4A30-9FF8-DE9B60590F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305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7A099-55C8-4703-992D-DEB717CC0A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87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B4EA7-4287-4636-B228-E36D516FBF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792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BB762-1D22-4DDD-B358-C478FC034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733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D8FF1-FD41-483F-9782-91A584A823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50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39BDE-2721-44E5-A2B4-C1E51EEB00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56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A117F-B2B7-42F7-9F8A-54E0C2D62D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413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C66BDC-6FE0-4866-B33B-4765772C17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13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49" r:id="rId12"/>
    <p:sldLayoutId id="2147483750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7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396166"/>
            <a:ext cx="11725484" cy="369919"/>
            <a:chOff x="119063" y="6268828"/>
            <a:chExt cx="8618537" cy="3625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828"/>
              <a:ext cx="8618537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70440"/>
              <a:ext cx="7200000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12780" indent="-812780" defTabSz="1193770" fontAlgn="base">
                <a:spcBef>
                  <a:spcPct val="0"/>
                </a:spcBef>
                <a:spcAft>
                  <a:spcPct val="0"/>
                </a:spcAft>
                <a:tabLst>
                  <a:tab pos="817013" algn="l"/>
                </a:tabLst>
              </a:pPr>
              <a:r>
                <a:rPr lang="en-US" sz="1067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26185"/>
            <a:ext cx="580118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265043" y="291555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14" y="285077"/>
            <a:ext cx="1028445" cy="1075530"/>
            <a:chOff x="7835905" y="279400"/>
            <a:chExt cx="755934" cy="1054119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38" y="285076"/>
            <a:ext cx="1447443" cy="803414"/>
            <a:chOff x="7540629" y="279400"/>
            <a:chExt cx="1063909" cy="78742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8" y="255920"/>
            <a:ext cx="1119156" cy="1378425"/>
            <a:chOff x="7769225" y="250825"/>
            <a:chExt cx="822609" cy="135098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2" y="2516524"/>
            <a:ext cx="2591592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Last Modified 28/04/2017 17:22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398663"/>
            <a:ext cx="1295796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Printed 4-сәу-17 14:11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48750" y="6584086"/>
            <a:ext cx="209993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333">
                <a:solidFill>
                  <a:srgbClr val="808080"/>
                </a:solidFill>
              </a:rPr>
              <a:pPr/>
              <a:t>‹#›</a:t>
            </a:fld>
            <a:endParaRPr sz="133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23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sldNum="0"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359824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4.jpe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hyperlink" Target="https://www.google.ru/url?sa=i&amp;source=images&amp;cd=&amp;ved=2ahUKEwjEl7DayP3cAhUjQJoKHbLZB6wQjRx6BAgBEAU&amp;url=http://www.onlygfx.com/10-graduation-silhouette-png-transparent/&amp;psig=AOvVaw2S4tdgp4oQYxsKU4h82uVR&amp;ust=1534920951020939" TargetMode="External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23896789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284356" y="2595765"/>
            <a:ext cx="751261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err="1" smtClean="0">
                <a:solidFill>
                  <a:srgbClr val="002060"/>
                </a:solidFill>
              </a:rPr>
              <a:t>Еңбек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нарығында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сұранысқа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ие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жоғары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медициналық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білімі</a:t>
            </a:r>
            <a:r>
              <a:rPr lang="ru-RU" sz="2800" b="1" dirty="0" smtClean="0">
                <a:solidFill>
                  <a:srgbClr val="002060"/>
                </a:solidFill>
              </a:rPr>
              <a:t> бар </a:t>
            </a:r>
            <a:r>
              <a:rPr lang="ru-RU" sz="2800" b="1" dirty="0" err="1" smtClean="0">
                <a:solidFill>
                  <a:srgbClr val="002060"/>
                </a:solidFill>
              </a:rPr>
              <a:t>мамандарды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даярлау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сапасын</a:t>
            </a:r>
            <a:r>
              <a:rPr lang="ru-RU" sz="2800" b="1" dirty="0" smtClean="0">
                <a:solidFill>
                  <a:srgbClr val="002060"/>
                </a:solidFill>
              </a:rPr>
              <a:t> </a:t>
            </a:r>
            <a:r>
              <a:rPr lang="ru-RU" sz="2800" b="1" dirty="0" err="1" smtClean="0">
                <a:solidFill>
                  <a:srgbClr val="002060"/>
                </a:solidFill>
              </a:rPr>
              <a:t>арттыру</a:t>
            </a:r>
            <a:endParaRPr lang="ru-RU" sz="2800" b="1" dirty="0">
              <a:solidFill>
                <a:srgbClr val="002060"/>
              </a:solidFill>
            </a:endParaRPr>
          </a:p>
        </p:txBody>
      </p:sp>
      <p:pic>
        <p:nvPicPr>
          <p:cNvPr id="71682" name="Picture 2" descr="Студенты-медики получат дополнительную выплату за помощь в борьбе с  коронавирусом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4778" y="2302799"/>
            <a:ext cx="3575704" cy="1988986"/>
          </a:xfrm>
          <a:prstGeom prst="rect">
            <a:avLst/>
          </a:prstGeom>
          <a:noFill/>
        </p:spPr>
      </p:pic>
      <p:sp>
        <p:nvSpPr>
          <p:cNvPr id="7" name="Текст 1"/>
          <p:cNvSpPr txBox="1">
            <a:spLocks/>
          </p:cNvSpPr>
          <p:nvPr/>
        </p:nvSpPr>
        <p:spPr>
          <a:xfrm>
            <a:off x="953180" y="5911101"/>
            <a:ext cx="10285640" cy="618434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Астана қ.</a:t>
            </a:r>
            <a:r>
              <a:rPr lang="ru-RU" sz="2000" b="1" smtClean="0">
                <a:solidFill>
                  <a:srgbClr val="002060"/>
                </a:solidFill>
                <a:cs typeface="Arial" pitchFamily="34" charset="0"/>
              </a:rPr>
              <a:t>, </a:t>
            </a:r>
            <a:r>
              <a:rPr lang="ru-RU" sz="2000" b="1" smtClean="0">
                <a:solidFill>
                  <a:srgbClr val="002060"/>
                </a:solidFill>
                <a:cs typeface="Arial" pitchFamily="34" charset="0"/>
              </a:rPr>
              <a:t>26.12.2022 </a:t>
            </a:r>
            <a:r>
              <a:rPr lang="ru-RU" sz="2000" b="1" dirty="0" smtClean="0">
                <a:solidFill>
                  <a:srgbClr val="002060"/>
                </a:solidFill>
                <a:cs typeface="Arial" pitchFamily="34" charset="0"/>
              </a:rPr>
              <a:t>ж.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826" y="92054"/>
            <a:ext cx="1535922" cy="1587118"/>
          </a:xfrm>
          <a:prstGeom prst="rect">
            <a:avLst/>
          </a:prstGeom>
        </p:spPr>
      </p:pic>
      <p:pic>
        <p:nvPicPr>
          <p:cNvPr id="2" name="Picture 19" descr="C:\Users\daurenbekov_a\Downloads\DENI SAU ŪLT logo 1.png">
            <a:extLst>
              <a:ext uri="{FF2B5EF4-FFF2-40B4-BE49-F238E27FC236}">
                <a16:creationId xmlns="" xmlns:a16="http://schemas.microsoft.com/office/drawing/2014/main" id="{6B5BD4B3-8A74-F127-0540-E8FFF5A6FF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919" y="14514"/>
            <a:ext cx="1631690" cy="1587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06019A1A-B7FB-4729-A8FA-836EAEE73B06}"/>
              </a:ext>
            </a:extLst>
          </p:cNvPr>
          <p:cNvSpPr/>
          <p:nvPr/>
        </p:nvSpPr>
        <p:spPr>
          <a:xfrm>
            <a:off x="6415440" y="4778278"/>
            <a:ext cx="5381532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b="1" i="1" dirty="0" err="1" smtClean="0"/>
              <a:t>Денсаулық сақтау Вице-министрі</a:t>
            </a:r>
            <a:r>
              <a:rPr lang="ru-RU" b="1" i="1" dirty="0" smtClean="0"/>
              <a:t> </a:t>
            </a:r>
            <a:endParaRPr lang="ru-RU" b="1" dirty="0" smtClean="0"/>
          </a:p>
          <a:p>
            <a:pPr algn="r"/>
            <a:r>
              <a:rPr lang="ru-RU" b="1" i="1" dirty="0" smtClean="0"/>
              <a:t>Ж.Қ. </a:t>
            </a:r>
            <a:r>
              <a:rPr lang="ru-RU" b="1" i="1" dirty="0" err="1" smtClean="0"/>
              <a:t>Бүркітбаев</a:t>
            </a:r>
            <a:endParaRPr lang="ru-RU" b="1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Скругленный прямоугольник 9">
            <a:extLst>
              <a:ext uri="{FF2B5EF4-FFF2-40B4-BE49-F238E27FC236}">
                <a16:creationId xmlns="" xmlns:a16="http://schemas.microsoft.com/office/drawing/2014/main" id="{84B2C0FF-26F8-AD39-91F9-4E84764F612F}"/>
              </a:ext>
            </a:extLst>
          </p:cNvPr>
          <p:cNvSpPr/>
          <p:nvPr/>
        </p:nvSpPr>
        <p:spPr>
          <a:xfrm>
            <a:off x="1931159" y="200454"/>
            <a:ext cx="8313603" cy="796539"/>
          </a:xfrm>
          <a:prstGeom prst="roundRect">
            <a:avLst>
              <a:gd name="adj" fmla="val 50000"/>
            </a:avLst>
          </a:prstGeom>
          <a:solidFill>
            <a:srgbClr val="E7EAF3">
              <a:alpha val="46000"/>
            </a:srgbClr>
          </a:solidFill>
          <a:ln>
            <a:noFill/>
          </a:ln>
          <a:effectLst>
            <a:softEdge rad="139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000" b="1" dirty="0" smtClean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зақстан Республикасының денсаулық сақтау Министрлігі</a:t>
            </a:r>
            <a:endParaRPr lang="ru-RU" sz="1600" b="1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96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2987734" y="-435934"/>
            <a:ext cx="8389104" cy="1189702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r>
              <a:rPr lang="ru-RU" sz="2400" dirty="0" smtClean="0"/>
              <a:t/>
            </a:r>
            <a:br>
              <a:rPr lang="ru-RU" sz="2400" dirty="0" smtClean="0"/>
            </a:br>
            <a:endParaRPr lang="ru-RU" sz="2400" dirty="0" smtClean="0"/>
          </a:p>
          <a:p>
            <a:r>
              <a:rPr lang="kk-KZ" sz="2400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апаны одан әрі арттыру жөніндегі шаралар</a:t>
            </a:r>
            <a:endParaRPr lang="kk-KZ" sz="24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579956"/>
              </p:ext>
            </p:extLst>
          </p:nvPr>
        </p:nvGraphicFramePr>
        <p:xfrm>
          <a:off x="443620" y="1070207"/>
          <a:ext cx="11532070" cy="49987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588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732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4455">
                <a:tc>
                  <a:txBody>
                    <a:bodyPr/>
                    <a:lstStyle/>
                    <a:p>
                      <a:pPr algn="ctr"/>
                      <a:r>
                        <a:rPr lang="ru-RU" sz="2200" b="1" kern="1200" dirty="0" err="1" smtClean="0">
                          <a:solidFill>
                            <a:srgbClr val="002060"/>
                          </a:solidFill>
                          <a:latin typeface="+mn-lt"/>
                        </a:rPr>
                        <a:t>Тапсырма</a:t>
                      </a:r>
                      <a:r>
                        <a:rPr lang="ru-RU" sz="2200" b="1" kern="1200" dirty="0" smtClean="0">
                          <a:solidFill>
                            <a:srgbClr val="002060"/>
                          </a:solidFill>
                          <a:latin typeface="+mn-lt"/>
                        </a:rPr>
                        <a:t>: </a:t>
                      </a:r>
                      <a:endParaRPr lang="ru-RU" sz="2200" b="1" kern="1200" dirty="0">
                        <a:solidFill>
                          <a:srgbClr val="002060"/>
                        </a:solidFill>
                        <a:latin typeface="+mn-lt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kern="1200" dirty="0" err="1" smtClean="0">
                          <a:solidFill>
                            <a:srgbClr val="002060"/>
                          </a:solidFill>
                          <a:latin typeface="+mn-lt"/>
                        </a:rPr>
                        <a:t>Ұсынылған шешімдер</a:t>
                      </a:r>
                      <a:r>
                        <a:rPr lang="ru-RU" sz="2200" b="1" kern="1200" dirty="0" smtClean="0">
                          <a:solidFill>
                            <a:srgbClr val="002060"/>
                          </a:solidFill>
                          <a:latin typeface="+mn-lt"/>
                        </a:rPr>
                        <a:t>:</a:t>
                      </a:r>
                      <a:endParaRPr lang="ru-RU" sz="2200" b="1" kern="1200" dirty="0">
                        <a:solidFill>
                          <a:srgbClr val="002060"/>
                        </a:solidFill>
                        <a:latin typeface="+mn-lt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87144">
                <a:tc>
                  <a:txBody>
                    <a:bodyPr/>
                    <a:lstStyle/>
                    <a:p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Реттелетін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кәсіптерге қойылатын талаптарға сәйкес мамандарды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даярлауға қойылатын біліктілік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талаптарын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қамтамасыз ету</a:t>
                      </a:r>
                      <a:endParaRPr lang="ru-RU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оғары және жоғары оқу орнынан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ейінгі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ілімі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бар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адрларды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даярлау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1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ағыттарының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kk-KZ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іктеуішіне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ҚР БҒМ 2018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жылғы 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қазандағы 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№ 569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ұйрығы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еттелетін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азалық мамандықтардың атаулары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енгізу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1800" b="0" i="1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ҒжБМ-мен</a:t>
                      </a:r>
                      <a:r>
                        <a:rPr lang="ru-RU" sz="18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800" b="0" i="1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бірлесіп</a:t>
                      </a:r>
                      <a:r>
                        <a:rPr lang="ru-RU" sz="18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.</a:t>
                      </a:r>
                      <a:endParaRPr lang="ru-RU" sz="1800" b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Денсаулық сақтау кадрларын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даярлау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бағыттары бойынша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білім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беру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қызметіне қойылатын әртүрлі </a:t>
                      </a:r>
                      <a:r>
                        <a:rPr lang="ru-RU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біліктілік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талаптарын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айқындау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(</a:t>
                      </a:r>
                      <a:r>
                        <a:rPr lang="ru-RU" i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Қазақстан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 Республикасы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Білім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және ғылым министрінің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5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жылғы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17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маусымдағы 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№ 391 </a:t>
                      </a:r>
                      <a:r>
                        <a:rPr lang="ru-RU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бұйрығы</a:t>
                      </a:r>
                      <a:r>
                        <a:rPr lang="ru-RU" dirty="0" smtClean="0">
                          <a:solidFill>
                            <a:schemeClr val="tx1"/>
                          </a:solidFill>
                          <a:latin typeface="+mn-lt"/>
                        </a:rPr>
                        <a:t>).</a:t>
                      </a:r>
                      <a:endParaRPr lang="ru-RU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</a:tr>
              <a:tr h="1687144">
                <a:tc>
                  <a:txBody>
                    <a:bodyPr/>
                    <a:lstStyle/>
                    <a:p>
                      <a:r>
                        <a:rPr lang="kk-KZ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әрігерлердің 6 жылдық базалық дайындығында (үздіксіз интеграцияланған медициналық білім беру) шамамен 1 жыл (56 кредит) жалпы білім беру пәндері алады, бұл халықаралық тәжірибеге сәйкес шамадан тыс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Үздіксіз интеграцияланған медициналық білім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беру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ағдарламалары түлектерінің құзыреттілігін ескере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ырып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800" b="1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Жалпы</a:t>
                      </a:r>
                      <a:r>
                        <a:rPr lang="ru-RU" sz="18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ілім</a:t>
                      </a:r>
                      <a:r>
                        <a:rPr lang="ru-RU" sz="18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еретін</a:t>
                      </a:r>
                      <a:r>
                        <a:rPr lang="ru-RU" sz="18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1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әндер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иклінің көлемін дәрігерлерді даярлау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езінде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8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 </a:t>
                      </a:r>
                      <a:r>
                        <a:rPr lang="ru-RU" sz="1800" b="1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кадемиялық </a:t>
                      </a:r>
                      <a:r>
                        <a:rPr lang="ru-RU" sz="18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редитке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дейін</a:t>
                      </a:r>
                      <a:r>
                        <a:rPr lang="ru-RU" sz="18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8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өмендетуді ұсынамыз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4195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22743" y="1653364"/>
            <a:ext cx="10390123" cy="3801137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2400" dirty="0" smtClean="0"/>
              <a:t>	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Дүниежүзілік медициналық білі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беру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федерациясының стандарттарына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сәйкес келетін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ілі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ер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ағдарламалары арқылы денсаулық сақтау кадрларын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даярла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сапасын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арттыр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із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заманауи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сапал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медициналық қызмет көрсетуге қабілетті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медицина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қызметкерлерінің 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жаңа буынын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дайындайтын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оламыз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Қазақстандық медициналық білі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шетелдег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медициналық жоғары оқу орындары</a:t>
            </a:r>
            <a:r>
              <a:rPr lang="kk-KZ" sz="2400" dirty="0" smtClean="0">
                <a:latin typeface="Times New Roman" pitchFamily="18" charset="0"/>
                <a:cs typeface="Times New Roman" pitchFamily="18" charset="0"/>
              </a:rPr>
              <a:t>нда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танымалдылығын арттыр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және шетелдік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студенттерд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тиімд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тарт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үшін халықаралық білі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беру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еңістігіне 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біріктірілед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Салан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ілікт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адрлармен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қамтамасыз ет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0" indent="0" algn="just">
              <a:buNone/>
            </a:pP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224287" y="139665"/>
            <a:ext cx="11519276" cy="661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39" tIns="60919" rIns="121839" bIns="60919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1218919"/>
            <a:r>
              <a:rPr lang="ru-RU" sz="28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үтілетін нәтижелер:</a:t>
            </a:r>
            <a:endParaRPr lang="ru-RU" sz="2800" b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318" y="3744339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158" y="2885736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49" y="1714350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sp>
        <p:nvSpPr>
          <p:cNvPr id="14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11</a:t>
            </a:r>
            <a:endParaRPr lang="en-US" dirty="0"/>
          </a:p>
        </p:txBody>
      </p:sp>
      <p:pic>
        <p:nvPicPr>
          <p:cNvPr id="2" name="Picture 6" descr="http://image.obmen.ru/img/files/putevki.jpg">
            <a:extLst>
              <a:ext uri="{FF2B5EF4-FFF2-40B4-BE49-F238E27FC236}">
                <a16:creationId xmlns="" xmlns:a16="http://schemas.microsoft.com/office/drawing/2014/main" id="{4EF5289A-7B87-7FBE-0245-2B8611372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3114" y="4871933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187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Title text slide"/>
          <p:cNvSpPr txBox="1"/>
          <p:nvPr/>
        </p:nvSpPr>
        <p:spPr>
          <a:xfrm>
            <a:off x="-643741" y="2845663"/>
            <a:ext cx="9738358" cy="171329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8000" b="0">
                <a:solidFill>
                  <a:srgbClr val="31333D"/>
                </a:solidFill>
                <a:latin typeface="Maven Pro Medium"/>
                <a:ea typeface="Maven Pro Medium"/>
                <a:cs typeface="Maven Pro Medium"/>
                <a:sym typeface="Maven Pro Medium"/>
              </a:defRPr>
            </a:lvl1pPr>
          </a:lstStyle>
          <a:p>
            <a:pPr indent="20638" algn="ctr"/>
            <a:r>
              <a:rPr lang="ru-RU" sz="5400" i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зарларыңызға</a:t>
            </a:r>
            <a:endParaRPr lang="ru-RU" sz="5400" i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indent="20638" algn="ctr"/>
            <a:r>
              <a:rPr lang="ru-RU" sz="5400" i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хмет</a:t>
            </a:r>
            <a:r>
              <a:rPr lang="ru-RU" sz="5400" i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!</a:t>
            </a:r>
            <a:endParaRPr lang="ru-RU" sz="5400" i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B48BB5B-78CB-4FBF-B312-AE1FA3BD776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123638" y="1689578"/>
            <a:ext cx="925403" cy="956249"/>
          </a:xfrm>
          <a:prstGeom prst="rect">
            <a:avLst/>
          </a:prstGeom>
        </p:spPr>
      </p:pic>
      <p:pic>
        <p:nvPicPr>
          <p:cNvPr id="11" name="Picture 19" descr="C:\Users\daurenbekov_a\Downloads\DENI SAU ŪLT logo 1.png">
            <a:extLst>
              <a:ext uri="{FF2B5EF4-FFF2-40B4-BE49-F238E27FC236}">
                <a16:creationId xmlns="" xmlns:a16="http://schemas.microsoft.com/office/drawing/2014/main" id="{B11D8A9D-FD5E-4B90-9AAD-2FEB9DA2F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89" y="1689578"/>
            <a:ext cx="1002495" cy="97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C50F5ADB-BCED-4103-868D-0B5FFB1E534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69" r="28906"/>
          <a:stretch/>
        </p:blipFill>
        <p:spPr>
          <a:xfrm>
            <a:off x="7543800" y="0"/>
            <a:ext cx="4648200" cy="6858000"/>
          </a:xfrm>
          <a:prstGeom prst="parallelogram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40743" y="0"/>
            <a:ext cx="10350967" cy="235279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>
            <a:no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</a:b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>Денсаулық сақтау саласындағы білім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>және ғылым ұйымдары</a:t>
            </a: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425174" y="951372"/>
            <a:ext cx="3552383" cy="33855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МЕДИЦИНАЛЫҚ ЖОО, ҒЗИ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и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ҰО </a:t>
            </a: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20226" y="1805288"/>
            <a:ext cx="6096000" cy="1985159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оғары оқу орындары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(15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):</a:t>
            </a: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ООлар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ҚР ДСМ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едомстволық бағынысты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емлекеттік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емес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ЖОО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7 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факультет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көпсалалы университеттер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құрамында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4112" y="4224046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Ұлттық орталықтар,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ҒЗИ 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идентура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ғдарламаларын іске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b="1" dirty="0" err="1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асыратын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(14):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990600" lvl="1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1 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ҒЗИ, ҰО, ҚР ДСМ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едомстволық бағынысты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marL="990600" lvl="1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емлекеттік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2000" dirty="0" err="1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емес</a:t>
            </a:r>
            <a:r>
              <a:rPr lang="ru-RU" sz="2000" dirty="0" smtClean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ҒЗИ, ҰО</a:t>
            </a:r>
            <a:endParaRPr lang="ru-RU" sz="2000" dirty="0">
              <a:solidFill>
                <a:schemeClr val="accent3">
                  <a:lumMod val="50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629086" y="922777"/>
            <a:ext cx="5485797" cy="33855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pPr algn="ctr"/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Ағымдағы 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КОНТИНГЕНТ / 2022 </a:t>
            </a:r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жылғы шығарылым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 </a:t>
            </a:r>
          </a:p>
        </p:txBody>
      </p:sp>
      <p:sp>
        <p:nvSpPr>
          <p:cNvPr id="31" name="Полилиния: фигура 6">
            <a:extLst>
              <a:ext uri="{FF2B5EF4-FFF2-40B4-BE49-F238E27FC236}">
                <a16:creationId xmlns="" xmlns:a16="http://schemas.microsoft.com/office/drawing/2014/main" id="{6EDDF004-F236-2423-1D7E-8D8F147CD3BF}"/>
              </a:ext>
            </a:extLst>
          </p:cNvPr>
          <p:cNvSpPr/>
          <p:nvPr/>
        </p:nvSpPr>
        <p:spPr>
          <a:xfrm>
            <a:off x="303641" y="890984"/>
            <a:ext cx="5819573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6956470" y="1736979"/>
            <a:ext cx="464414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калавриат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7 552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01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терна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9 133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 423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иден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 946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 111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агистра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617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72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кторан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73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43</a:t>
            </a:r>
          </a:p>
        </p:txBody>
      </p:sp>
      <p:sp>
        <p:nvSpPr>
          <p:cNvPr id="33" name="Полилиния: фигура 6">
            <a:extLst>
              <a:ext uri="{FF2B5EF4-FFF2-40B4-BE49-F238E27FC236}">
                <a16:creationId xmlns="" xmlns:a16="http://schemas.microsoft.com/office/drawing/2014/main" id="{6EDDF004-F236-2423-1D7E-8D8F147CD3BF}"/>
              </a:ext>
            </a:extLst>
          </p:cNvPr>
          <p:cNvSpPr/>
          <p:nvPr/>
        </p:nvSpPr>
        <p:spPr>
          <a:xfrm>
            <a:off x="6516227" y="903362"/>
            <a:ext cx="5598656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7008075" y="3783529"/>
            <a:ext cx="1757404" cy="52322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70C0"/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ОҚУ МЕРЗІМІ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6912395" y="4515611"/>
            <a:ext cx="4622099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калавриат </a:t>
            </a: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4 - 5 </a:t>
            </a:r>
            <a:r>
              <a:rPr lang="kk-KZ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endParaRPr lang="kk-KZ" sz="18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тернатура – 1 - 2 </a:t>
            </a:r>
            <a:r>
              <a:rPr lang="kk-KZ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endParaRPr lang="kk-KZ" sz="18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идентура – </a:t>
            </a: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-</a:t>
            </a:r>
            <a:r>
              <a:rPr lang="en-US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</a:t>
            </a: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kk-KZ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endParaRPr lang="kk-KZ" sz="18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агистратура – 1-1,5-2 </a:t>
            </a:r>
            <a:r>
              <a:rPr lang="kk-KZ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endParaRPr lang="kk-KZ" sz="18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кторантура – 3 </a:t>
            </a:r>
            <a:r>
              <a:rPr lang="kk-KZ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жыл</a:t>
            </a:r>
            <a:endParaRPr lang="kk-KZ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2" name="Полилиния: фигура 98">
            <a:extLst>
              <a:ext uri="{FF2B5EF4-FFF2-40B4-BE49-F238E27FC236}">
                <a16:creationId xmlns="" xmlns:a16="http://schemas.microsoft.com/office/drawing/2014/main" id="{DB65BFF5-89DC-DD12-EBA9-165EC40E0124}"/>
              </a:ext>
            </a:extLst>
          </p:cNvPr>
          <p:cNvSpPr/>
          <p:nvPr/>
        </p:nvSpPr>
        <p:spPr>
          <a:xfrm>
            <a:off x="240826" y="2478643"/>
            <a:ext cx="275152" cy="719243"/>
          </a:xfrm>
          <a:custGeom>
            <a:avLst/>
            <a:gdLst>
              <a:gd name="connsiteX0" fmla="*/ 212663 w 215920"/>
              <a:gd name="connsiteY0" fmla="*/ 131216 h 279399"/>
              <a:gd name="connsiteX1" fmla="*/ 98363 w 215920"/>
              <a:gd name="connsiteY1" fmla="*/ 4216 h 279399"/>
              <a:gd name="connsiteX2" fmla="*/ 88914 w 215920"/>
              <a:gd name="connsiteY2" fmla="*/ 0 h 279399"/>
              <a:gd name="connsiteX3" fmla="*/ 12714 w 215920"/>
              <a:gd name="connsiteY3" fmla="*/ 0 h 279399"/>
              <a:gd name="connsiteX4" fmla="*/ 1106 w 215920"/>
              <a:gd name="connsiteY4" fmla="*/ 7518 h 279399"/>
              <a:gd name="connsiteX5" fmla="*/ 3265 w 215920"/>
              <a:gd name="connsiteY5" fmla="*/ 21184 h 279399"/>
              <a:gd name="connsiteX6" fmla="*/ 109920 w 215920"/>
              <a:gd name="connsiteY6" fmla="*/ 139700 h 279399"/>
              <a:gd name="connsiteX7" fmla="*/ 3265 w 215920"/>
              <a:gd name="connsiteY7" fmla="*/ 258190 h 279399"/>
              <a:gd name="connsiteX8" fmla="*/ 1106 w 215920"/>
              <a:gd name="connsiteY8" fmla="*/ 271856 h 279399"/>
              <a:gd name="connsiteX9" fmla="*/ 12714 w 215920"/>
              <a:gd name="connsiteY9" fmla="*/ 279399 h 279399"/>
              <a:gd name="connsiteX10" fmla="*/ 88914 w 215920"/>
              <a:gd name="connsiteY10" fmla="*/ 279399 h 279399"/>
              <a:gd name="connsiteX11" fmla="*/ 98363 w 215920"/>
              <a:gd name="connsiteY11" fmla="*/ 275208 h 279399"/>
              <a:gd name="connsiteX12" fmla="*/ 212663 w 215920"/>
              <a:gd name="connsiteY12" fmla="*/ 148209 h 279399"/>
              <a:gd name="connsiteX13" fmla="*/ 212663 w 215920"/>
              <a:gd name="connsiteY13" fmla="*/ 131216 h 279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5920" h="279399">
                <a:moveTo>
                  <a:pt x="212663" y="131216"/>
                </a:moveTo>
                <a:lnTo>
                  <a:pt x="98363" y="4216"/>
                </a:lnTo>
                <a:cubicBezTo>
                  <a:pt x="95924" y="1524"/>
                  <a:pt x="92521" y="0"/>
                  <a:pt x="88914" y="0"/>
                </a:cubicBezTo>
                <a:lnTo>
                  <a:pt x="12714" y="0"/>
                </a:lnTo>
                <a:cubicBezTo>
                  <a:pt x="7710" y="0"/>
                  <a:pt x="3164" y="2946"/>
                  <a:pt x="1106" y="7518"/>
                </a:cubicBezTo>
                <a:cubicBezTo>
                  <a:pt x="-926" y="12116"/>
                  <a:pt x="-87" y="17475"/>
                  <a:pt x="3265" y="21184"/>
                </a:cubicBezTo>
                <a:lnTo>
                  <a:pt x="109920" y="139700"/>
                </a:lnTo>
                <a:lnTo>
                  <a:pt x="3265" y="258190"/>
                </a:lnTo>
                <a:cubicBezTo>
                  <a:pt x="-87" y="261924"/>
                  <a:pt x="-951" y="267284"/>
                  <a:pt x="1106" y="271856"/>
                </a:cubicBezTo>
                <a:cubicBezTo>
                  <a:pt x="3164" y="276453"/>
                  <a:pt x="7710" y="279399"/>
                  <a:pt x="12714" y="279399"/>
                </a:cubicBezTo>
                <a:lnTo>
                  <a:pt x="88914" y="279399"/>
                </a:lnTo>
                <a:cubicBezTo>
                  <a:pt x="92521" y="279399"/>
                  <a:pt x="95924" y="277850"/>
                  <a:pt x="98363" y="275208"/>
                </a:cubicBezTo>
                <a:lnTo>
                  <a:pt x="212663" y="148209"/>
                </a:lnTo>
                <a:cubicBezTo>
                  <a:pt x="217006" y="143383"/>
                  <a:pt x="217006" y="136017"/>
                  <a:pt x="212663" y="131216"/>
                </a:cubicBezTo>
                <a:close/>
              </a:path>
            </a:pathLst>
          </a:custGeom>
          <a:solidFill>
            <a:srgbClr val="019CF7"/>
          </a:solidFill>
          <a:ln w="774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1200" dirty="0"/>
          </a:p>
        </p:txBody>
      </p:sp>
      <p:sp>
        <p:nvSpPr>
          <p:cNvPr id="44" name="Полилиния: фигура 98">
            <a:extLst>
              <a:ext uri="{FF2B5EF4-FFF2-40B4-BE49-F238E27FC236}">
                <a16:creationId xmlns="" xmlns:a16="http://schemas.microsoft.com/office/drawing/2014/main" id="{DB65BFF5-89DC-DD12-EBA9-165EC40E0124}"/>
              </a:ext>
            </a:extLst>
          </p:cNvPr>
          <p:cNvSpPr/>
          <p:nvPr/>
        </p:nvSpPr>
        <p:spPr>
          <a:xfrm>
            <a:off x="250553" y="4744598"/>
            <a:ext cx="275152" cy="719243"/>
          </a:xfrm>
          <a:custGeom>
            <a:avLst/>
            <a:gdLst>
              <a:gd name="connsiteX0" fmla="*/ 212663 w 215920"/>
              <a:gd name="connsiteY0" fmla="*/ 131216 h 279399"/>
              <a:gd name="connsiteX1" fmla="*/ 98363 w 215920"/>
              <a:gd name="connsiteY1" fmla="*/ 4216 h 279399"/>
              <a:gd name="connsiteX2" fmla="*/ 88914 w 215920"/>
              <a:gd name="connsiteY2" fmla="*/ 0 h 279399"/>
              <a:gd name="connsiteX3" fmla="*/ 12714 w 215920"/>
              <a:gd name="connsiteY3" fmla="*/ 0 h 279399"/>
              <a:gd name="connsiteX4" fmla="*/ 1106 w 215920"/>
              <a:gd name="connsiteY4" fmla="*/ 7518 h 279399"/>
              <a:gd name="connsiteX5" fmla="*/ 3265 w 215920"/>
              <a:gd name="connsiteY5" fmla="*/ 21184 h 279399"/>
              <a:gd name="connsiteX6" fmla="*/ 109920 w 215920"/>
              <a:gd name="connsiteY6" fmla="*/ 139700 h 279399"/>
              <a:gd name="connsiteX7" fmla="*/ 3265 w 215920"/>
              <a:gd name="connsiteY7" fmla="*/ 258190 h 279399"/>
              <a:gd name="connsiteX8" fmla="*/ 1106 w 215920"/>
              <a:gd name="connsiteY8" fmla="*/ 271856 h 279399"/>
              <a:gd name="connsiteX9" fmla="*/ 12714 w 215920"/>
              <a:gd name="connsiteY9" fmla="*/ 279399 h 279399"/>
              <a:gd name="connsiteX10" fmla="*/ 88914 w 215920"/>
              <a:gd name="connsiteY10" fmla="*/ 279399 h 279399"/>
              <a:gd name="connsiteX11" fmla="*/ 98363 w 215920"/>
              <a:gd name="connsiteY11" fmla="*/ 275208 h 279399"/>
              <a:gd name="connsiteX12" fmla="*/ 212663 w 215920"/>
              <a:gd name="connsiteY12" fmla="*/ 148209 h 279399"/>
              <a:gd name="connsiteX13" fmla="*/ 212663 w 215920"/>
              <a:gd name="connsiteY13" fmla="*/ 131216 h 279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5920" h="279399">
                <a:moveTo>
                  <a:pt x="212663" y="131216"/>
                </a:moveTo>
                <a:lnTo>
                  <a:pt x="98363" y="4216"/>
                </a:lnTo>
                <a:cubicBezTo>
                  <a:pt x="95924" y="1524"/>
                  <a:pt x="92521" y="0"/>
                  <a:pt x="88914" y="0"/>
                </a:cubicBezTo>
                <a:lnTo>
                  <a:pt x="12714" y="0"/>
                </a:lnTo>
                <a:cubicBezTo>
                  <a:pt x="7710" y="0"/>
                  <a:pt x="3164" y="2946"/>
                  <a:pt x="1106" y="7518"/>
                </a:cubicBezTo>
                <a:cubicBezTo>
                  <a:pt x="-926" y="12116"/>
                  <a:pt x="-87" y="17475"/>
                  <a:pt x="3265" y="21184"/>
                </a:cubicBezTo>
                <a:lnTo>
                  <a:pt x="109920" y="139700"/>
                </a:lnTo>
                <a:lnTo>
                  <a:pt x="3265" y="258190"/>
                </a:lnTo>
                <a:cubicBezTo>
                  <a:pt x="-87" y="261924"/>
                  <a:pt x="-951" y="267284"/>
                  <a:pt x="1106" y="271856"/>
                </a:cubicBezTo>
                <a:cubicBezTo>
                  <a:pt x="3164" y="276453"/>
                  <a:pt x="7710" y="279399"/>
                  <a:pt x="12714" y="279399"/>
                </a:cubicBezTo>
                <a:lnTo>
                  <a:pt x="88914" y="279399"/>
                </a:lnTo>
                <a:cubicBezTo>
                  <a:pt x="92521" y="279399"/>
                  <a:pt x="95924" y="277850"/>
                  <a:pt x="98363" y="275208"/>
                </a:cubicBezTo>
                <a:lnTo>
                  <a:pt x="212663" y="148209"/>
                </a:lnTo>
                <a:cubicBezTo>
                  <a:pt x="217006" y="143383"/>
                  <a:pt x="217006" y="136017"/>
                  <a:pt x="212663" y="131216"/>
                </a:cubicBezTo>
                <a:close/>
              </a:path>
            </a:pathLst>
          </a:custGeom>
          <a:solidFill>
            <a:srgbClr val="019CF7"/>
          </a:solidFill>
          <a:ln w="774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12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5666482" y="2092682"/>
            <a:ext cx="783630" cy="771921"/>
            <a:chOff x="5997429" y="5894962"/>
            <a:chExt cx="783630" cy="771921"/>
          </a:xfrm>
        </p:grpSpPr>
        <p:sp>
          <p:nvSpPr>
            <p:cNvPr id="23" name="Овал 22">
              <a:extLst>
                <a:ext uri="{FF2B5EF4-FFF2-40B4-BE49-F238E27FC236}">
                  <a16:creationId xmlns="" xmlns:a16="http://schemas.microsoft.com/office/drawing/2014/main" id="{0FA948B3-BB14-464C-AE32-F635B5D0FF33}"/>
                </a:ext>
              </a:extLst>
            </p:cNvPr>
            <p:cNvSpPr/>
            <p:nvPr/>
          </p:nvSpPr>
          <p:spPr>
            <a:xfrm>
              <a:off x="5997429" y="5894962"/>
              <a:ext cx="783630" cy="771921"/>
            </a:xfrm>
            <a:prstGeom prst="ellipse">
              <a:avLst/>
            </a:prstGeom>
            <a:gradFill flip="none" rotWithShape="1">
              <a:gsLst>
                <a:gs pos="29000">
                  <a:srgbClr val="072AB3"/>
                </a:gs>
                <a:gs pos="100000">
                  <a:srgbClr val="019CF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dirty="0"/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="" xmlns:a16="http://schemas.microsoft.com/office/drawing/2014/main" id="{5B212AA4-8374-4BAE-8D37-7C00C71818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35533" y="6010508"/>
              <a:ext cx="507422" cy="507422"/>
            </a:xfrm>
            <a:prstGeom prst="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</p:pic>
      </p:grpSp>
      <p:pic>
        <p:nvPicPr>
          <p:cNvPr id="29" name="Picture 36" descr="Картинки по запросу Clipart Graduate Silhouette">
            <a:hlinkClick r:id="rId5"/>
            <a:extLst>
              <a:ext uri="{FF2B5EF4-FFF2-40B4-BE49-F238E27FC236}">
                <a16:creationId xmlns="" xmlns:a16="http://schemas.microsoft.com/office/drawing/2014/main" id="{3E5231AF-AD9B-4E41-8E22-58F007E92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flipH="1">
            <a:off x="11323303" y="2829687"/>
            <a:ext cx="422382" cy="1348006"/>
          </a:xfrm>
          <a:prstGeom prst="rect">
            <a:avLst/>
          </a:prstGeom>
          <a:noFill/>
          <a:effectLst>
            <a:outerShdw blurRad="76200" dir="13500000" sy="23000" kx="1200000" algn="br" rotWithShape="0">
              <a:schemeClr val="accent1">
                <a:lumMod val="60000"/>
                <a:lumOff val="40000"/>
                <a:alpha val="20000"/>
              </a:scheme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386CB6F-667F-C0F1-C332-486D7A42CA88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40826" y="54298"/>
            <a:ext cx="737547" cy="762131"/>
          </a:xfrm>
          <a:prstGeom prst="rect">
            <a:avLst/>
          </a:prstGeom>
        </p:spPr>
      </p:pic>
      <p:sp>
        <p:nvSpPr>
          <p:cNvPr id="9" name="Полилиния: фигура 6">
            <a:extLst>
              <a:ext uri="{FF2B5EF4-FFF2-40B4-BE49-F238E27FC236}">
                <a16:creationId xmlns="" xmlns:a16="http://schemas.microsoft.com/office/drawing/2014/main" id="{0C21CC59-FEFE-2D9C-D1DD-7BF6DFC7EAC0}"/>
              </a:ext>
            </a:extLst>
          </p:cNvPr>
          <p:cNvSpPr/>
          <p:nvPr/>
        </p:nvSpPr>
        <p:spPr>
          <a:xfrm>
            <a:off x="6941032" y="3831202"/>
            <a:ext cx="3930485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26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84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Прямоугольник 230"/>
          <p:cNvSpPr/>
          <p:nvPr/>
        </p:nvSpPr>
        <p:spPr>
          <a:xfrm>
            <a:off x="6077093" y="5271247"/>
            <a:ext cx="5846738" cy="7530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Прямоугольник 178"/>
          <p:cNvSpPr/>
          <p:nvPr/>
        </p:nvSpPr>
        <p:spPr>
          <a:xfrm>
            <a:off x="9358169" y="3286220"/>
            <a:ext cx="732215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3" name="Прямоугольный треугольник 182"/>
          <p:cNvSpPr/>
          <p:nvPr/>
        </p:nvSpPr>
        <p:spPr>
          <a:xfrm rot="5400000" flipH="1" flipV="1">
            <a:off x="9756993" y="3244837"/>
            <a:ext cx="295807" cy="359610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2521720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2133515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775129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444885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086763" y="960064"/>
            <a:ext cx="75223" cy="47335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27" name="Прямоугольник 4"/>
          <p:cNvSpPr>
            <a:spLocks noChangeArrowheads="1"/>
          </p:cNvSpPr>
          <p:nvPr/>
        </p:nvSpPr>
        <p:spPr bwMode="auto">
          <a:xfrm>
            <a:off x="4565650" y="6487203"/>
            <a:ext cx="845978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Nara N, Suzuki T, Tohda S. </a:t>
            </a:r>
            <a:r>
              <a:rPr lang="en-US" sz="1100" u="sng">
                <a:solidFill>
                  <a:srgbClr val="642A8F"/>
                </a:solidFill>
                <a:latin typeface="Arial" panose="020B0604020202020204" pitchFamily="34" charset="0"/>
                <a:hlinkClick r:id="rId3"/>
              </a:rPr>
              <a:t>The current medical education system in the world.</a:t>
            </a: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 J Med Dent Sci. 2011 Jul 4;58(2):79-83</a:t>
            </a:r>
            <a:endParaRPr lang="en-US" sz="1100"/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930" y="74400"/>
            <a:ext cx="737547" cy="762131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19BCB565-58C1-4DE6-ACDA-EA00FD2A581B}"/>
              </a:ext>
            </a:extLst>
          </p:cNvPr>
          <p:cNvSpPr/>
          <p:nvPr/>
        </p:nvSpPr>
        <p:spPr>
          <a:xfrm>
            <a:off x="1704574" y="162068"/>
            <a:ext cx="9740348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әрігерлік кадрларды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даярлаудағы халықаралық 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практика</a:t>
            </a:r>
            <a:endParaRPr lang="ru-RU" sz="22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99913" y="1727528"/>
            <a:ext cx="1428802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мед. </a:t>
            </a:r>
            <a:r>
              <a:rPr lang="ru-RU" sz="11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110099" y="2249255"/>
            <a:ext cx="2128471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37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21478" y="2758172"/>
            <a:ext cx="1772445" cy="277175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31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32420" y="3274049"/>
            <a:ext cx="1389300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мед. 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42224" y="3805451"/>
            <a:ext cx="1737048" cy="277459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5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42224" y="4334837"/>
            <a:ext cx="1393031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мед. 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1050" dirty="0" smtClean="0"/>
              <a:t> </a:t>
            </a:r>
            <a:endParaRPr lang="en-US" sz="105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142223" y="4836218"/>
            <a:ext cx="173981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1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65565" y="5355481"/>
            <a:ext cx="1380738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мед.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ru-RU" sz="1050" dirty="0" smtClean="0"/>
              <a:t> </a:t>
            </a:r>
            <a:endParaRPr lang="en-US" sz="1050" dirty="0"/>
          </a:p>
        </p:txBody>
      </p:sp>
      <p:sp>
        <p:nvSpPr>
          <p:cNvPr id="5" name="Стрелка вправо 4"/>
          <p:cNvSpPr/>
          <p:nvPr/>
        </p:nvSpPr>
        <p:spPr>
          <a:xfrm>
            <a:off x="1015023" y="836532"/>
            <a:ext cx="4618193" cy="1524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41771" y="1188758"/>
            <a:ext cx="8372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 smtClean="0"/>
              <a:t>Жапония</a:t>
            </a:r>
            <a:endParaRPr lang="en-US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141771" y="1649402"/>
            <a:ext cx="7040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АҚЩ, </a:t>
            </a:r>
            <a:endParaRPr lang="ru-RU" sz="1200" dirty="0"/>
          </a:p>
          <a:p>
            <a:r>
              <a:rPr lang="ru-RU" sz="1200" dirty="0"/>
              <a:t>Канада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141771" y="2261246"/>
            <a:ext cx="8732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Германия</a:t>
            </a:r>
            <a:endParaRPr lang="en-US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0" y="2688424"/>
            <a:ext cx="11383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err="1" smtClean="0"/>
              <a:t>Ұлыбритания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123684" y="3222124"/>
            <a:ext cx="1024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 smtClean="0"/>
              <a:t>Ұлы-</a:t>
            </a:r>
          </a:p>
          <a:p>
            <a:r>
              <a:rPr lang="ru-RU" sz="1200" dirty="0" err="1" smtClean="0"/>
              <a:t>британия</a:t>
            </a:r>
            <a:r>
              <a:rPr lang="ru-RU" sz="1200" dirty="0" smtClean="0"/>
              <a:t> </a:t>
            </a:r>
            <a:r>
              <a:rPr lang="ru-RU" sz="1200" dirty="0"/>
              <a:t>2 </a:t>
            </a:r>
            <a:endParaRPr 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103005" y="3847565"/>
            <a:ext cx="894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Ирландия</a:t>
            </a:r>
            <a:endParaRPr lang="en-US" sz="1200" dirty="0"/>
          </a:p>
        </p:txBody>
      </p:sp>
      <p:sp>
        <p:nvSpPr>
          <p:cNvPr id="29" name="TextBox 28"/>
          <p:cNvSpPr txBox="1"/>
          <p:nvPr/>
        </p:nvSpPr>
        <p:spPr>
          <a:xfrm>
            <a:off x="79930" y="4327469"/>
            <a:ext cx="1022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Ирландия 2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123684" y="4843896"/>
            <a:ext cx="976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Сингапур 1</a:t>
            </a:r>
            <a:endParaRPr lang="en-US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123684" y="5369307"/>
            <a:ext cx="976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Сингапур 2</a:t>
            </a:r>
            <a:endParaRPr lang="en-US" sz="1200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2883415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243456" y="96002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628163" y="956265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12715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18</a:t>
            </a:r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1272553" y="5830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19</a:t>
            </a:r>
            <a:endParaRPr lang="en-US" sz="12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1629730" y="5830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0</a:t>
            </a:r>
            <a:endParaRPr lang="en-US" sz="12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1985483" y="5860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1</a:t>
            </a:r>
            <a:endParaRPr lang="en-US" sz="12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2355274" y="584697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2</a:t>
            </a:r>
            <a:endParaRPr lang="en-US" sz="12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2715335" y="583781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3</a:t>
            </a:r>
            <a:endParaRPr lang="en-US" sz="12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3073679" y="583503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4</a:t>
            </a:r>
            <a:endParaRPr lang="en-US" sz="12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3430856" y="57974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5</a:t>
            </a:r>
            <a:endParaRPr lang="en-US" sz="12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3796455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6</a:t>
            </a:r>
            <a:endParaRPr lang="en-US" sz="12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4172893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7</a:t>
            </a:r>
            <a:endParaRPr lang="en-US" sz="12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4550764" y="5889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8</a:t>
            </a:r>
            <a:endParaRPr lang="en-US" sz="12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4919748" y="5889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9</a:t>
            </a:r>
            <a:endParaRPr lang="en-US" sz="12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5248270" y="592647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30</a:t>
            </a:r>
            <a:endParaRPr lang="en-US" sz="1200" b="1" dirty="0"/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3993027" y="957746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4361435" y="96508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4758022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5134777" y="95428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701626" y="954283"/>
            <a:ext cx="0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090245" y="1196126"/>
            <a:ext cx="216020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д</a:t>
            </a:r>
            <a:r>
              <a:rPr lang="kk-KZ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80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709858" y="1004867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 smtClean="0"/>
              <a:t>Ұлт</a:t>
            </a:r>
            <a:r>
              <a:rPr lang="ru-RU" sz="700" dirty="0" smtClean="0"/>
              <a:t>. </a:t>
            </a:r>
            <a:r>
              <a:rPr lang="ru-RU" sz="700" dirty="0" err="1" smtClean="0"/>
              <a:t>емтихан</a:t>
            </a:r>
            <a:endParaRPr lang="en-US" sz="70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3250450" y="1195844"/>
            <a:ext cx="900589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152845" y="1193608"/>
            <a:ext cx="1353278" cy="272149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2530046" y="1728808"/>
            <a:ext cx="149386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АҚШ 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44 + Канада 16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4030916" y="1727528"/>
            <a:ext cx="457101" cy="2669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499628" y="1727528"/>
            <a:ext cx="1181994" cy="26469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254172" y="2248286"/>
            <a:ext cx="1502976" cy="27060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 +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Прямоугольный треугольник 60"/>
          <p:cNvSpPr/>
          <p:nvPr/>
        </p:nvSpPr>
        <p:spPr>
          <a:xfrm rot="5400000">
            <a:off x="4988961" y="2031347"/>
            <a:ext cx="272984" cy="706862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Прямоугольник 70"/>
          <p:cNvSpPr/>
          <p:nvPr/>
        </p:nvSpPr>
        <p:spPr>
          <a:xfrm>
            <a:off x="2879272" y="2758172"/>
            <a:ext cx="457101" cy="2771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3339350" y="2761459"/>
            <a:ext cx="1232919" cy="23732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Прямоугольный треугольник 73"/>
          <p:cNvSpPr/>
          <p:nvPr/>
        </p:nvSpPr>
        <p:spPr>
          <a:xfrm rot="5400000">
            <a:off x="4827883" y="2382250"/>
            <a:ext cx="272984" cy="1029017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Прямоугольник 74"/>
          <p:cNvSpPr/>
          <p:nvPr/>
        </p:nvSpPr>
        <p:spPr>
          <a:xfrm>
            <a:off x="2516234" y="3273482"/>
            <a:ext cx="1504031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4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020870" y="3275825"/>
            <a:ext cx="45710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4485747" y="3280060"/>
            <a:ext cx="1180711" cy="276074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2867018" y="3805451"/>
            <a:ext cx="457101" cy="2771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ый треугольник 61"/>
          <p:cNvSpPr/>
          <p:nvPr/>
        </p:nvSpPr>
        <p:spPr>
          <a:xfrm rot="5400000" flipH="1" flipV="1">
            <a:off x="2550554" y="3761411"/>
            <a:ext cx="295807" cy="359610"/>
          </a:xfrm>
          <a:prstGeom prst="rtTriangl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Прямоугольник 81"/>
          <p:cNvSpPr/>
          <p:nvPr/>
        </p:nvSpPr>
        <p:spPr>
          <a:xfrm>
            <a:off x="3324119" y="3805168"/>
            <a:ext cx="1167606" cy="34453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3" name="Прямоугольный треугольник 82"/>
          <p:cNvSpPr/>
          <p:nvPr/>
        </p:nvSpPr>
        <p:spPr>
          <a:xfrm rot="5400000">
            <a:off x="4820116" y="3394525"/>
            <a:ext cx="272984" cy="1099028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Прямоугольник 83"/>
          <p:cNvSpPr/>
          <p:nvPr/>
        </p:nvSpPr>
        <p:spPr>
          <a:xfrm>
            <a:off x="2541239" y="4338773"/>
            <a:ext cx="148709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4037794" y="4342628"/>
            <a:ext cx="45710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4482478" y="4336597"/>
            <a:ext cx="1219148" cy="293315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2898475" y="4836218"/>
            <a:ext cx="437269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3343809" y="4842561"/>
            <a:ext cx="771788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індеттемелер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2898475" y="4836218"/>
            <a:ext cx="457101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4127244" y="4840052"/>
            <a:ext cx="754699" cy="234082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2" name="Прямоугольный треугольник 91"/>
          <p:cNvSpPr/>
          <p:nvPr/>
        </p:nvSpPr>
        <p:spPr>
          <a:xfrm rot="5400000">
            <a:off x="4945273" y="4781955"/>
            <a:ext cx="280646" cy="368346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Прямоугольник 92"/>
          <p:cNvSpPr/>
          <p:nvPr/>
        </p:nvSpPr>
        <p:spPr>
          <a:xfrm>
            <a:off x="2517341" y="5357448"/>
            <a:ext cx="148709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) 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007360" y="5360940"/>
            <a:ext cx="47061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479612" y="5354811"/>
            <a:ext cx="1215505" cy="242929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628980" y="1537233"/>
            <a:ext cx="910087" cy="141280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smtClean="0"/>
              <a:t>1-қадам </a:t>
            </a:r>
            <a:r>
              <a:rPr lang="en-US" sz="700" dirty="0"/>
              <a:t>USMLE</a:t>
            </a:r>
            <a:r>
              <a:rPr lang="ru-RU" sz="700" dirty="0"/>
              <a:t> </a:t>
            </a:r>
            <a:endParaRPr lang="en-US" sz="7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3654795" y="1543861"/>
            <a:ext cx="575442" cy="14211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2-қадам</a:t>
            </a:r>
            <a:endParaRPr lang="en-US" sz="700" dirty="0"/>
          </a:p>
        </p:txBody>
      </p:sp>
      <p:sp>
        <p:nvSpPr>
          <p:cNvPr id="99" name="Прямоугольник 98"/>
          <p:cNvSpPr/>
          <p:nvPr/>
        </p:nvSpPr>
        <p:spPr>
          <a:xfrm>
            <a:off x="4368430" y="1541059"/>
            <a:ext cx="531648" cy="14491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3-қадам</a:t>
            </a:r>
            <a:endParaRPr lang="en-US" sz="700" dirty="0"/>
          </a:p>
        </p:txBody>
      </p:sp>
      <p:sp>
        <p:nvSpPr>
          <p:cNvPr id="100" name="Прямоугольник 99"/>
          <p:cNvSpPr/>
          <p:nvPr/>
        </p:nvSpPr>
        <p:spPr>
          <a:xfrm>
            <a:off x="1636712" y="2042486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 smtClean="0"/>
              <a:t>Ұлт</a:t>
            </a:r>
            <a:r>
              <a:rPr lang="ru-RU" sz="700" dirty="0" smtClean="0"/>
              <a:t>. </a:t>
            </a:r>
            <a:r>
              <a:rPr lang="ru-RU" sz="700" dirty="0" err="1" smtClean="0"/>
              <a:t>емтихан</a:t>
            </a:r>
            <a:endParaRPr lang="en-US" sz="700" dirty="0"/>
          </a:p>
        </p:txBody>
      </p:sp>
      <p:sp>
        <p:nvSpPr>
          <p:cNvPr id="101" name="Прямоугольник 100"/>
          <p:cNvSpPr/>
          <p:nvPr/>
        </p:nvSpPr>
        <p:spPr>
          <a:xfrm>
            <a:off x="3076148" y="2042486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 smtClean="0"/>
              <a:t>Ұлт</a:t>
            </a:r>
            <a:r>
              <a:rPr lang="ru-RU" sz="700" dirty="0" smtClean="0"/>
              <a:t>. </a:t>
            </a:r>
            <a:r>
              <a:rPr lang="ru-RU" sz="700" dirty="0" err="1" smtClean="0"/>
              <a:t>Емтихан</a:t>
            </a:r>
            <a:r>
              <a:rPr lang="ru-RU" sz="700" dirty="0" smtClean="0"/>
              <a:t> </a:t>
            </a:r>
            <a:r>
              <a:rPr lang="en-US" sz="700" dirty="0" smtClean="0"/>
              <a:t>#2</a:t>
            </a:r>
            <a:endParaRPr lang="en-US" sz="700" dirty="0"/>
          </a:p>
        </p:txBody>
      </p:sp>
      <p:sp>
        <p:nvSpPr>
          <p:cNvPr id="103" name="Прямоугольник 102"/>
          <p:cNvSpPr/>
          <p:nvPr/>
        </p:nvSpPr>
        <p:spPr>
          <a:xfrm>
            <a:off x="3171393" y="261034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04" name="Прямоугольник 103"/>
          <p:cNvSpPr/>
          <p:nvPr/>
        </p:nvSpPr>
        <p:spPr>
          <a:xfrm>
            <a:off x="2293494" y="260487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05" name="Прямоугольник 104"/>
          <p:cNvSpPr/>
          <p:nvPr/>
        </p:nvSpPr>
        <p:spPr>
          <a:xfrm>
            <a:off x="4160505" y="3124449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06" name="Прямоугольник 105"/>
          <p:cNvSpPr/>
          <p:nvPr/>
        </p:nvSpPr>
        <p:spPr>
          <a:xfrm>
            <a:off x="3365467" y="312168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07" name="Прямоугольник 106"/>
          <p:cNvSpPr/>
          <p:nvPr/>
        </p:nvSpPr>
        <p:spPr>
          <a:xfrm>
            <a:off x="3022176" y="361973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108" name="Прямоугольник 107"/>
          <p:cNvSpPr/>
          <p:nvPr/>
        </p:nvSpPr>
        <p:spPr>
          <a:xfrm>
            <a:off x="2208150" y="361958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109" name="Прямоугольник 108"/>
          <p:cNvSpPr/>
          <p:nvPr/>
        </p:nvSpPr>
        <p:spPr>
          <a:xfrm>
            <a:off x="4258731" y="4132741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10" name="Прямоугольник 109"/>
          <p:cNvSpPr/>
          <p:nvPr/>
        </p:nvSpPr>
        <p:spPr>
          <a:xfrm>
            <a:off x="3324993" y="412456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cxnSp>
        <p:nvCxnSpPr>
          <p:cNvPr id="81" name="Прямая со стрелкой 80"/>
          <p:cNvCxnSpPr>
            <a:endCxn id="63" idx="1"/>
          </p:cNvCxnSpPr>
          <p:nvPr/>
        </p:nvCxnSpPr>
        <p:spPr>
          <a:xfrm>
            <a:off x="3246953" y="1140393"/>
            <a:ext cx="3497" cy="190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/>
          <p:nvPr/>
        </p:nvCxnSpPr>
        <p:spPr>
          <a:xfrm>
            <a:off x="3126667" y="1589305"/>
            <a:ext cx="10883" cy="1724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/>
          <p:nvPr/>
        </p:nvCxnSpPr>
        <p:spPr>
          <a:xfrm>
            <a:off x="3958946" y="1664396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Прямая со стрелкой 116"/>
          <p:cNvCxnSpPr/>
          <p:nvPr/>
        </p:nvCxnSpPr>
        <p:spPr>
          <a:xfrm flipH="1">
            <a:off x="4480440" y="1660524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Прямая со стрелкой 118"/>
          <p:cNvCxnSpPr>
            <a:stCxn id="105" idx="2"/>
          </p:cNvCxnSpPr>
          <p:nvPr/>
        </p:nvCxnSpPr>
        <p:spPr>
          <a:xfrm flipH="1">
            <a:off x="4469821" y="3216843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/>
          <p:nvPr/>
        </p:nvCxnSpPr>
        <p:spPr>
          <a:xfrm>
            <a:off x="3966180" y="3210551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/>
          <p:nvPr/>
        </p:nvCxnSpPr>
        <p:spPr>
          <a:xfrm flipH="1">
            <a:off x="4485747" y="4222120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H="1">
            <a:off x="3351968" y="2706560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>
            <a:off x="2834484" y="2703996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/>
          <p:nvPr/>
        </p:nvCxnSpPr>
        <p:spPr>
          <a:xfrm>
            <a:off x="3974027" y="4206613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2843661" y="3718379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/>
          <p:nvPr/>
        </p:nvCxnSpPr>
        <p:spPr>
          <a:xfrm flipH="1">
            <a:off x="3300902" y="3730072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>
            <a:off x="3242401" y="2181354"/>
            <a:ext cx="6290" cy="152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Прямая со стрелкой 130"/>
          <p:cNvCxnSpPr/>
          <p:nvPr/>
        </p:nvCxnSpPr>
        <p:spPr>
          <a:xfrm>
            <a:off x="2007700" y="2178012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3" name="Рисунок 122"/>
          <p:cNvPicPr>
            <a:picLocks noChangeAspect="1"/>
          </p:cNvPicPr>
          <p:nvPr/>
        </p:nvPicPr>
        <p:blipFill rotWithShape="1">
          <a:blip r:embed="rId5"/>
          <a:srcRect l="38792" t="24222" r="37583" b="72222"/>
          <a:stretch/>
        </p:blipFill>
        <p:spPr>
          <a:xfrm>
            <a:off x="951732" y="555858"/>
            <a:ext cx="4921034" cy="433272"/>
          </a:xfrm>
          <a:prstGeom prst="rect">
            <a:avLst/>
          </a:prstGeom>
        </p:spPr>
      </p:pic>
      <p:pic>
        <p:nvPicPr>
          <p:cNvPr id="134" name="Рисунок 133"/>
          <p:cNvPicPr>
            <a:picLocks noChangeAspect="1"/>
          </p:cNvPicPr>
          <p:nvPr/>
        </p:nvPicPr>
        <p:blipFill rotWithShape="1">
          <a:blip r:embed="rId5"/>
          <a:srcRect l="38792" t="24222" r="37583" b="72222"/>
          <a:stretch/>
        </p:blipFill>
        <p:spPr>
          <a:xfrm>
            <a:off x="7311683" y="588916"/>
            <a:ext cx="4879106" cy="433272"/>
          </a:xfrm>
          <a:prstGeom prst="rect">
            <a:avLst/>
          </a:prstGeom>
        </p:spPr>
      </p:pic>
      <p:cxnSp>
        <p:nvCxnSpPr>
          <p:cNvPr id="136" name="Прямая соединительная линия 135"/>
          <p:cNvCxnSpPr/>
          <p:nvPr/>
        </p:nvCxnSpPr>
        <p:spPr>
          <a:xfrm>
            <a:off x="7447910" y="1004361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>
            <a:off x="7846049" y="99896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>
            <a:off x="8211739" y="998967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/>
          <p:cNvCxnSpPr/>
          <p:nvPr/>
        </p:nvCxnSpPr>
        <p:spPr>
          <a:xfrm>
            <a:off x="8589271" y="101057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>
            <a:off x="8996819" y="99826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>
            <a:off x="9351519" y="99826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>
            <a:off x="9688189" y="98897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>
            <a:off x="10060967" y="101025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единительная линия 143"/>
          <p:cNvCxnSpPr/>
          <p:nvPr/>
        </p:nvCxnSpPr>
        <p:spPr>
          <a:xfrm>
            <a:off x="10449172" y="101622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>
            <a:off x="10804060" y="998261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11192265" y="1017815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>
            <a:off x="11558048" y="998260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/>
          <p:cNvCxnSpPr/>
          <p:nvPr/>
        </p:nvCxnSpPr>
        <p:spPr>
          <a:xfrm>
            <a:off x="11910346" y="100953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Прямоугольник 148"/>
          <p:cNvSpPr/>
          <p:nvPr/>
        </p:nvSpPr>
        <p:spPr>
          <a:xfrm>
            <a:off x="7447910" y="1195844"/>
            <a:ext cx="2231847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8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7437957" y="1724872"/>
            <a:ext cx="262300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9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Прямоугольник 150"/>
          <p:cNvSpPr/>
          <p:nvPr/>
        </p:nvSpPr>
        <p:spPr>
          <a:xfrm>
            <a:off x="7439623" y="2250126"/>
            <a:ext cx="216020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80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Прямоугольник 151"/>
          <p:cNvSpPr/>
          <p:nvPr/>
        </p:nvSpPr>
        <p:spPr>
          <a:xfrm>
            <a:off x="7437957" y="2765306"/>
            <a:ext cx="156566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мед.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" name="Прямоугольник 152"/>
          <p:cNvSpPr/>
          <p:nvPr/>
        </p:nvSpPr>
        <p:spPr>
          <a:xfrm>
            <a:off x="7437958" y="3273482"/>
            <a:ext cx="1911924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7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4" name="Прямоугольник 153"/>
          <p:cNvSpPr/>
          <p:nvPr/>
        </p:nvSpPr>
        <p:spPr>
          <a:xfrm>
            <a:off x="7454905" y="3812995"/>
            <a:ext cx="190221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13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7458559" y="4339488"/>
            <a:ext cx="1545067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мед.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мес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7439622" y="4854911"/>
            <a:ext cx="2255562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31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>
            <a:off x="7463192" y="5361605"/>
            <a:ext cx="2229982" cy="415836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азалық</a:t>
            </a:r>
            <a:endParaRPr lang="ru-RU" sz="12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2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едициналық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ілім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ыл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6219744" y="1220658"/>
            <a:ext cx="10963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Нидерланды</a:t>
            </a:r>
            <a:endParaRPr lang="en-US" sz="1200" dirty="0"/>
          </a:p>
        </p:txBody>
      </p:sp>
      <p:sp>
        <p:nvSpPr>
          <p:cNvPr id="159" name="TextBox 158"/>
          <p:cNvSpPr txBox="1"/>
          <p:nvPr/>
        </p:nvSpPr>
        <p:spPr>
          <a:xfrm>
            <a:off x="6255621" y="1724872"/>
            <a:ext cx="7614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Бельгия</a:t>
            </a:r>
            <a:endParaRPr lang="en-US" sz="1200" dirty="0"/>
          </a:p>
        </p:txBody>
      </p:sp>
      <p:sp>
        <p:nvSpPr>
          <p:cNvPr id="160" name="TextBox 159"/>
          <p:cNvSpPr txBox="1"/>
          <p:nvPr/>
        </p:nvSpPr>
        <p:spPr>
          <a:xfrm>
            <a:off x="6253223" y="2257244"/>
            <a:ext cx="795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Испания</a:t>
            </a:r>
            <a:endParaRPr lang="en-US" sz="1200" dirty="0"/>
          </a:p>
        </p:txBody>
      </p:sp>
      <p:sp>
        <p:nvSpPr>
          <p:cNvPr id="161" name="TextBox 160"/>
          <p:cNvSpPr txBox="1"/>
          <p:nvPr/>
        </p:nvSpPr>
        <p:spPr>
          <a:xfrm>
            <a:off x="6253526" y="2762043"/>
            <a:ext cx="1072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Австралия 1</a:t>
            </a:r>
            <a:endParaRPr lang="en-US" sz="1200" dirty="0"/>
          </a:p>
        </p:txBody>
      </p:sp>
      <p:sp>
        <p:nvSpPr>
          <p:cNvPr id="162" name="TextBox 161"/>
          <p:cNvSpPr txBox="1"/>
          <p:nvPr/>
        </p:nvSpPr>
        <p:spPr>
          <a:xfrm>
            <a:off x="6284207" y="3809310"/>
            <a:ext cx="9013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Малайзия</a:t>
            </a:r>
            <a:endParaRPr lang="en-US" sz="1200" dirty="0"/>
          </a:p>
        </p:txBody>
      </p:sp>
      <p:sp>
        <p:nvSpPr>
          <p:cNvPr id="163" name="TextBox 162"/>
          <p:cNvSpPr txBox="1"/>
          <p:nvPr/>
        </p:nvSpPr>
        <p:spPr>
          <a:xfrm>
            <a:off x="6253343" y="3279869"/>
            <a:ext cx="1072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Австралия 2</a:t>
            </a:r>
            <a:endParaRPr lang="en-US" sz="1200" dirty="0"/>
          </a:p>
        </p:txBody>
      </p:sp>
      <p:sp>
        <p:nvSpPr>
          <p:cNvPr id="164" name="TextBox 163"/>
          <p:cNvSpPr txBox="1"/>
          <p:nvPr/>
        </p:nvSpPr>
        <p:spPr>
          <a:xfrm>
            <a:off x="6296511" y="4335803"/>
            <a:ext cx="740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Корея 1</a:t>
            </a:r>
            <a:endParaRPr lang="en-US" sz="1200" dirty="0"/>
          </a:p>
        </p:txBody>
      </p:sp>
      <p:sp>
        <p:nvSpPr>
          <p:cNvPr id="165" name="TextBox 164"/>
          <p:cNvSpPr txBox="1"/>
          <p:nvPr/>
        </p:nvSpPr>
        <p:spPr>
          <a:xfrm>
            <a:off x="6309672" y="4883803"/>
            <a:ext cx="740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Корея 2</a:t>
            </a:r>
            <a:endParaRPr lang="en-US" sz="1200" dirty="0"/>
          </a:p>
        </p:txBody>
      </p:sp>
      <p:sp>
        <p:nvSpPr>
          <p:cNvPr id="166" name="TextBox 165"/>
          <p:cNvSpPr txBox="1"/>
          <p:nvPr/>
        </p:nvSpPr>
        <p:spPr>
          <a:xfrm>
            <a:off x="6077093" y="5451724"/>
            <a:ext cx="125733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 smtClean="0">
                <a:solidFill>
                  <a:srgbClr val="FF0000"/>
                </a:solidFill>
              </a:rPr>
              <a:t>ҚАЗАҚСТАН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167" name="Прямоугольник 166"/>
          <p:cNvSpPr/>
          <p:nvPr/>
        </p:nvSpPr>
        <p:spPr>
          <a:xfrm>
            <a:off x="9646422" y="1195844"/>
            <a:ext cx="893103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10490090" y="1191957"/>
            <a:ext cx="1074954" cy="299476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9" name="Прямоугольный треугольник 168"/>
          <p:cNvSpPr/>
          <p:nvPr/>
        </p:nvSpPr>
        <p:spPr>
          <a:xfrm rot="5400000">
            <a:off x="11612384" y="1160344"/>
            <a:ext cx="272984" cy="349910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Прямоугольник 170"/>
          <p:cNvSpPr/>
          <p:nvPr/>
        </p:nvSpPr>
        <p:spPr>
          <a:xfrm>
            <a:off x="10057028" y="1724730"/>
            <a:ext cx="843400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10847312" y="1720040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9604352" y="2250425"/>
            <a:ext cx="893103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10503456" y="2248286"/>
            <a:ext cx="1392655" cy="27060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9003626" y="2769242"/>
            <a:ext cx="1504031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12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6" name="Прямоугольник 175"/>
          <p:cNvSpPr/>
          <p:nvPr/>
        </p:nvSpPr>
        <p:spPr>
          <a:xfrm>
            <a:off x="10435755" y="2767744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10868541" y="2755842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Прямоугольный треугольник 177"/>
          <p:cNvSpPr/>
          <p:nvPr/>
        </p:nvSpPr>
        <p:spPr>
          <a:xfrm rot="5400000">
            <a:off x="9398293" y="3238591"/>
            <a:ext cx="272984" cy="349910"/>
          </a:xfrm>
          <a:prstGeom prst="rtTriangle">
            <a:avLst/>
          </a:prstGeom>
          <a:solidFill>
            <a:srgbClr val="A6CE4F"/>
          </a:solidFill>
          <a:ln>
            <a:solidFill>
              <a:srgbClr val="A6CE4F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2" name="TextBox 131"/>
          <p:cNvSpPr txBox="1"/>
          <p:nvPr/>
        </p:nvSpPr>
        <p:spPr>
          <a:xfrm>
            <a:off x="9281355" y="3333417"/>
            <a:ext cx="9028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10096874" y="3286220"/>
            <a:ext cx="1102385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800" dirty="0" smtClean="0"/>
              <a:t>Мамандандыр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2" name="Прямоугольный треугольник 181"/>
          <p:cNvSpPr/>
          <p:nvPr/>
        </p:nvSpPr>
        <p:spPr>
          <a:xfrm rot="5400000">
            <a:off x="11416275" y="3079368"/>
            <a:ext cx="272984" cy="686688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Прямоугольник 183"/>
          <p:cNvSpPr/>
          <p:nvPr/>
        </p:nvSpPr>
        <p:spPr>
          <a:xfrm>
            <a:off x="9359687" y="3823732"/>
            <a:ext cx="531800" cy="27869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Прямоугольник 184"/>
          <p:cNvSpPr/>
          <p:nvPr/>
        </p:nvSpPr>
        <p:spPr>
          <a:xfrm>
            <a:off x="9891485" y="3823732"/>
            <a:ext cx="919569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індеттемелер</a:t>
            </a:r>
            <a:endParaRPr lang="en-US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6" name="Прямоугольник 185"/>
          <p:cNvSpPr/>
          <p:nvPr/>
        </p:nvSpPr>
        <p:spPr>
          <a:xfrm>
            <a:off x="10808465" y="3809310"/>
            <a:ext cx="918167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7" name="Прямоугольный треугольник 186"/>
          <p:cNvSpPr/>
          <p:nvPr/>
        </p:nvSpPr>
        <p:spPr>
          <a:xfrm rot="5400000">
            <a:off x="11688246" y="3853535"/>
            <a:ext cx="272984" cy="198186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Прямоугольник 187"/>
          <p:cNvSpPr/>
          <p:nvPr/>
        </p:nvSpPr>
        <p:spPr>
          <a:xfrm>
            <a:off x="9017860" y="4341454"/>
            <a:ext cx="1438307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</a:t>
            </a:r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ктеп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(10</a:t>
            </a:r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Прямоугольник 188"/>
          <p:cNvSpPr/>
          <p:nvPr/>
        </p:nvSpPr>
        <p:spPr>
          <a:xfrm>
            <a:off x="10472096" y="4339344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Прямоугольник 190"/>
          <p:cNvSpPr/>
          <p:nvPr/>
        </p:nvSpPr>
        <p:spPr>
          <a:xfrm>
            <a:off x="10868541" y="4328736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манд</a:t>
            </a:r>
            <a:r>
              <a:rPr lang="ru-RU" sz="105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у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9700376" y="4845972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10118993" y="4836218"/>
            <a:ext cx="1777118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1000" dirty="0" smtClean="0"/>
              <a:t>Маманд-у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9587924" y="3645440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/>
              <a:t>Тіркелу</a:t>
            </a:r>
            <a:endParaRPr lang="en-US" sz="700" dirty="0"/>
          </a:p>
        </p:txBody>
      </p:sp>
      <p:sp>
        <p:nvSpPr>
          <p:cNvPr id="197" name="Прямоугольник 196"/>
          <p:cNvSpPr/>
          <p:nvPr/>
        </p:nvSpPr>
        <p:spPr>
          <a:xfrm>
            <a:off x="8696531" y="3602511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198" name="Прямоугольник 197"/>
          <p:cNvSpPr/>
          <p:nvPr/>
        </p:nvSpPr>
        <p:spPr>
          <a:xfrm>
            <a:off x="9848905" y="307816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199" name="Прямоугольник 198"/>
          <p:cNvSpPr/>
          <p:nvPr/>
        </p:nvSpPr>
        <p:spPr>
          <a:xfrm>
            <a:off x="8921913" y="3077060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200" name="Прямоугольник 199"/>
          <p:cNvSpPr/>
          <p:nvPr/>
        </p:nvSpPr>
        <p:spPr>
          <a:xfrm>
            <a:off x="10684816" y="2581805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1" name="Прямоугольник 200"/>
          <p:cNvSpPr/>
          <p:nvPr/>
        </p:nvSpPr>
        <p:spPr>
          <a:xfrm>
            <a:off x="9795449" y="2580273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2" name="Прямоугольник 201"/>
          <p:cNvSpPr/>
          <p:nvPr/>
        </p:nvSpPr>
        <p:spPr>
          <a:xfrm>
            <a:off x="9077091" y="206603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203" name="Прямоугольник 202"/>
          <p:cNvSpPr/>
          <p:nvPr/>
        </p:nvSpPr>
        <p:spPr>
          <a:xfrm>
            <a:off x="10120343" y="2065192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Тіркелу</a:t>
            </a:r>
            <a:endParaRPr lang="en-US" sz="700" dirty="0"/>
          </a:p>
        </p:txBody>
      </p:sp>
      <p:sp>
        <p:nvSpPr>
          <p:cNvPr id="204" name="Прямоугольник 203"/>
          <p:cNvSpPr/>
          <p:nvPr/>
        </p:nvSpPr>
        <p:spPr>
          <a:xfrm>
            <a:off x="9050064" y="4629913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sp>
        <p:nvSpPr>
          <p:cNvPr id="205" name="Прямоугольник 204"/>
          <p:cNvSpPr/>
          <p:nvPr/>
        </p:nvSpPr>
        <p:spPr>
          <a:xfrm>
            <a:off x="10571080" y="1492885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sp>
        <p:nvSpPr>
          <p:cNvPr id="206" name="Прямоугольник 205"/>
          <p:cNvSpPr/>
          <p:nvPr/>
        </p:nvSpPr>
        <p:spPr>
          <a:xfrm>
            <a:off x="9475737" y="1518415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Тіркелу</a:t>
            </a:r>
            <a:endParaRPr lang="en-US" sz="700" dirty="0"/>
          </a:p>
        </p:txBody>
      </p:sp>
      <p:cxnSp>
        <p:nvCxnSpPr>
          <p:cNvPr id="207" name="Прямая со стрелкой 206"/>
          <p:cNvCxnSpPr/>
          <p:nvPr/>
        </p:nvCxnSpPr>
        <p:spPr>
          <a:xfrm flipH="1">
            <a:off x="10839791" y="1618787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Прямая со стрелкой 207"/>
          <p:cNvCxnSpPr/>
          <p:nvPr/>
        </p:nvCxnSpPr>
        <p:spPr>
          <a:xfrm>
            <a:off x="9993203" y="1623287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Прямая со стрелкой 212"/>
          <p:cNvCxnSpPr/>
          <p:nvPr/>
        </p:nvCxnSpPr>
        <p:spPr>
          <a:xfrm>
            <a:off x="9575332" y="2187347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Прямая со стрелкой 213"/>
          <p:cNvCxnSpPr/>
          <p:nvPr/>
        </p:nvCxnSpPr>
        <p:spPr>
          <a:xfrm flipH="1">
            <a:off x="10454128" y="2158071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Прямая со стрелкой 214"/>
          <p:cNvCxnSpPr/>
          <p:nvPr/>
        </p:nvCxnSpPr>
        <p:spPr>
          <a:xfrm flipH="1">
            <a:off x="10852387" y="2694470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Прямая со стрелкой 215"/>
          <p:cNvCxnSpPr/>
          <p:nvPr/>
        </p:nvCxnSpPr>
        <p:spPr>
          <a:xfrm flipH="1">
            <a:off x="10076474" y="3159075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Прямая со стрелкой 217"/>
          <p:cNvCxnSpPr/>
          <p:nvPr/>
        </p:nvCxnSpPr>
        <p:spPr>
          <a:xfrm flipH="1">
            <a:off x="9883857" y="3740995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Прямая со стрелкой 218"/>
          <p:cNvCxnSpPr/>
          <p:nvPr/>
        </p:nvCxnSpPr>
        <p:spPr>
          <a:xfrm flipH="1">
            <a:off x="9690533" y="4785061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Прямая со стрелкой 221"/>
          <p:cNvCxnSpPr/>
          <p:nvPr/>
        </p:nvCxnSpPr>
        <p:spPr>
          <a:xfrm flipH="1">
            <a:off x="10442177" y="4235311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4" name="Прямоугольник 223"/>
          <p:cNvSpPr/>
          <p:nvPr/>
        </p:nvSpPr>
        <p:spPr>
          <a:xfrm>
            <a:off x="9857554" y="4126783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 smtClean="0"/>
              <a:t>Ұлт. емтихан</a:t>
            </a:r>
            <a:endParaRPr lang="en-US" sz="700" dirty="0"/>
          </a:p>
        </p:txBody>
      </p:sp>
      <p:cxnSp>
        <p:nvCxnSpPr>
          <p:cNvPr id="225" name="Прямая со стрелкой 224"/>
          <p:cNvCxnSpPr/>
          <p:nvPr/>
        </p:nvCxnSpPr>
        <p:spPr>
          <a:xfrm>
            <a:off x="9344175" y="3204344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Прямая со стрелкой 225"/>
          <p:cNvCxnSpPr/>
          <p:nvPr/>
        </p:nvCxnSpPr>
        <p:spPr>
          <a:xfrm>
            <a:off x="9357120" y="3709289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Прямая со стрелкой 226"/>
          <p:cNvCxnSpPr/>
          <p:nvPr/>
        </p:nvCxnSpPr>
        <p:spPr>
          <a:xfrm>
            <a:off x="10435755" y="2651071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8" name="Прямоугольник 227"/>
          <p:cNvSpPr/>
          <p:nvPr/>
        </p:nvSpPr>
        <p:spPr>
          <a:xfrm>
            <a:off x="9702180" y="5352018"/>
            <a:ext cx="1101880" cy="42543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5 </a:t>
            </a:r>
            <a:r>
              <a:rPr lang="ru-RU" sz="1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жыл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0" name="Прямоугольный треугольник 229"/>
          <p:cNvSpPr/>
          <p:nvPr/>
        </p:nvSpPr>
        <p:spPr>
          <a:xfrm>
            <a:off x="10795894" y="5358047"/>
            <a:ext cx="1100217" cy="407341"/>
          </a:xfrm>
          <a:prstGeom prst="rtTriangl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439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олилиния 84"/>
          <p:cNvSpPr/>
          <p:nvPr/>
        </p:nvSpPr>
        <p:spPr>
          <a:xfrm>
            <a:off x="9360305" y="727787"/>
            <a:ext cx="2719709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олилиния 75"/>
          <p:cNvSpPr/>
          <p:nvPr/>
        </p:nvSpPr>
        <p:spPr>
          <a:xfrm>
            <a:off x="6409561" y="726784"/>
            <a:ext cx="2777366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2"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3239089" y="720467"/>
            <a:ext cx="2992361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6">
              <a:lumMod val="75000"/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146131" y="727788"/>
            <a:ext cx="2931832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1"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68585" y="43152"/>
            <a:ext cx="8730481" cy="471901"/>
          </a:xfrm>
          <a:prstGeom prst="roundRect">
            <a:avLst>
              <a:gd name="adj" fmla="val 50000"/>
            </a:avLst>
          </a:prstGeom>
          <a:solidFill>
            <a:srgbClr val="E7EAF3">
              <a:alpha val="12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здіксіз кәсіби </a:t>
            </a:r>
            <a:r>
              <a:rPr lang="ru-R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му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86186" y="2136161"/>
            <a:ext cx="2380086" cy="462289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400" b="1" dirty="0" err="1" smtClean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ан</a:t>
            </a:r>
            <a:endParaRPr lang="ru-RU" sz="1050" b="1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Бакалавриат)</a:t>
            </a:r>
            <a:endParaRPr lang="ru-RU" sz="1200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Diagram group"/>
          <p:cNvGrpSpPr/>
          <p:nvPr/>
        </p:nvGrpSpPr>
        <p:grpSpPr>
          <a:xfrm>
            <a:off x="275812" y="876074"/>
            <a:ext cx="2550793" cy="847855"/>
            <a:chOff x="0" y="0"/>
            <a:chExt cx="1709004" cy="1196247"/>
          </a:xfrm>
          <a:solidFill>
            <a:srgbClr val="92D050"/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19" name="Группа 18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20" name="Скругленный прямоугольник 19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</p:sp>
          <p:sp>
            <p:nvSpPr>
              <p:cNvPr id="21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 err="1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Формальды</a:t>
                </a:r>
                <a:endParaRPr lang="en-US" sz="1800" b="1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б</a:t>
                </a:r>
                <a:r>
                  <a:rPr lang="ru-RU" sz="1800" b="1" kern="1200" dirty="0" err="1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ілім</a:t>
                </a:r>
                <a:r>
                  <a:rPr lang="ru-RU" sz="1800" b="1" kern="1200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беру </a:t>
                </a:r>
                <a:endParaRPr lang="ru-RU" sz="1800" b="1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5" name="Скругленный прямоугольник 34"/>
          <p:cNvSpPr/>
          <p:nvPr/>
        </p:nvSpPr>
        <p:spPr>
          <a:xfrm>
            <a:off x="6703425" y="4394901"/>
            <a:ext cx="2160646" cy="221330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тификаттау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тары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300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ғат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месе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ан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а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өп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ізгі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андық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ңберінде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kk-KZ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 алу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ғалауға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тификаттауға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тады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5897" y="4901737"/>
            <a:ext cx="2380088" cy="605525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р </a:t>
            </a:r>
            <a:r>
              <a:rPr lang="ru-RU" sz="12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мандандырылған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әрігер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езидентура)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356320" y="3008141"/>
            <a:ext cx="2380086" cy="589511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kk-KZ" sz="1200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лпы дәрігер</a:t>
            </a:r>
            <a:endParaRPr lang="ru-RU" sz="12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Интернатура)</a:t>
            </a:r>
            <a:endParaRPr lang="ru-RU" sz="1200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35897" y="5890724"/>
            <a:ext cx="2380088" cy="827271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гистр, </a:t>
            </a:r>
            <a:r>
              <a:rPr lang="en-US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D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к.м.н., д.м.н., </a:t>
            </a:r>
            <a:r>
              <a:rPr lang="ru-RU" sz="105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гистратура / докторантура)</a:t>
            </a:r>
          </a:p>
        </p:txBody>
      </p:sp>
      <p:grpSp>
        <p:nvGrpSpPr>
          <p:cNvPr id="77" name="Diagram group"/>
          <p:cNvGrpSpPr/>
          <p:nvPr/>
        </p:nvGrpSpPr>
        <p:grpSpPr>
          <a:xfrm>
            <a:off x="6669137" y="884774"/>
            <a:ext cx="2231483" cy="847855"/>
            <a:chOff x="0" y="0"/>
            <a:chExt cx="1709004" cy="1196247"/>
          </a:xfrm>
          <a:solidFill>
            <a:schemeClr val="accent1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78" name="Группа 77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79" name="Скругленный прямоугольник 78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</p:sp>
          <p:sp>
            <p:nvSpPr>
              <p:cNvPr id="80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Қосымша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sz="1800" b="1" kern="1200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білім беру</a:t>
                </a:r>
                <a:endParaRPr lang="ru-RU" sz="18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81" name="Diagram group"/>
          <p:cNvGrpSpPr/>
          <p:nvPr/>
        </p:nvGrpSpPr>
        <p:grpSpPr>
          <a:xfrm>
            <a:off x="9591868" y="884774"/>
            <a:ext cx="2289093" cy="847855"/>
            <a:chOff x="0" y="0"/>
            <a:chExt cx="1709004" cy="1196247"/>
          </a:xfrm>
          <a:solidFill>
            <a:schemeClr val="accent2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82" name="Группа 81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83" name="Скругленный прямоугольник 82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</p:sp>
          <p:sp>
            <p:nvSpPr>
              <p:cNvPr id="84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 err="1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Формальды</a:t>
                </a:r>
                <a:r>
                  <a:rPr lang="ru-RU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ru-RU" b="1" dirty="0" err="1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емес</a:t>
                </a:r>
                <a:endParaRPr lang="en-US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 err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білім</a:t>
                </a:r>
                <a:r>
                  <a:rPr lang="ru-RU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беру </a:t>
                </a:r>
              </a:p>
            </p:txBody>
          </p:sp>
        </p:grpSp>
      </p:grpSp>
      <p:grpSp>
        <p:nvGrpSpPr>
          <p:cNvPr id="51" name="Diagram group"/>
          <p:cNvGrpSpPr/>
          <p:nvPr/>
        </p:nvGrpSpPr>
        <p:grpSpPr>
          <a:xfrm>
            <a:off x="3577340" y="868753"/>
            <a:ext cx="2456486" cy="847855"/>
            <a:chOff x="0" y="0"/>
            <a:chExt cx="1709004" cy="1196247"/>
          </a:xfrm>
          <a:solidFill>
            <a:srgbClr val="92D050"/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52" name="Группа 51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54" name="Скругленный прямоугольник 53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</p:sp>
          <p:sp>
            <p:nvSpPr>
              <p:cNvPr id="55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Салалық біліктілік </a:t>
                </a: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sz="1800" b="1" kern="1200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шеңбері</a:t>
                </a:r>
                <a:endParaRPr lang="ru-RU" sz="1800" b="1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58" name="Скругленный прямоугольник 57"/>
          <p:cNvSpPr/>
          <p:nvPr/>
        </p:nvSpPr>
        <p:spPr>
          <a:xfrm>
            <a:off x="6637249" y="1682533"/>
            <a:ext cx="2101641" cy="345403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ті</a:t>
            </a:r>
            <a:r>
              <a:rPr lang="ru-RU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ттыру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ұсынылған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5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60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ғат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90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ғат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20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ғат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150 </a:t>
            </a:r>
            <a:r>
              <a:rPr lang="ru-RU" sz="12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ғат</a:t>
            </a:r>
            <a:r>
              <a:rPr lang="ru-RU" sz="1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Стрелка вправо 60"/>
          <p:cNvSpPr/>
          <p:nvPr/>
        </p:nvSpPr>
        <p:spPr>
          <a:xfrm>
            <a:off x="2885548" y="2754507"/>
            <a:ext cx="661872" cy="216719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3572055" y="2011357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 smtClean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</a:t>
            </a:r>
            <a:r>
              <a:rPr lang="ru-RU" sz="1200" b="1" dirty="0" smtClean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 smtClean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ңгейлері</a:t>
            </a:r>
            <a:endParaRPr lang="ru-RU" sz="1200" b="1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1      5,2      5,3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3540668" y="2889043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</a:t>
            </a: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ңгейлері</a:t>
            </a:r>
            <a:endParaRPr lang="ru-RU" sz="14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kk-KZ" sz="1600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1      </a:t>
            </a:r>
            <a:r>
              <a:rPr lang="kk-KZ" sz="16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2      6,3 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470863" y="4719054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</a:t>
            </a: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ңгейлері</a:t>
            </a:r>
            <a:endParaRPr lang="ru-RU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kk-KZ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3      </a:t>
            </a:r>
            <a:r>
              <a:rPr lang="kk-KZ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4      8,1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553648" y="5980317"/>
            <a:ext cx="2480177" cy="56315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ңгейлері</a:t>
            </a:r>
            <a:endParaRPr lang="ru-RU" sz="12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kk-KZ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,1 </a:t>
            </a:r>
            <a:endParaRPr lang="kk-KZ" sz="1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335897" y="3919809"/>
            <a:ext cx="2380088" cy="605525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әрігер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резидент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Стрелка вправо 71"/>
          <p:cNvSpPr/>
          <p:nvPr/>
        </p:nvSpPr>
        <p:spPr>
          <a:xfrm>
            <a:off x="2797041" y="4604845"/>
            <a:ext cx="661872" cy="216719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3536289" y="3794032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ктілік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b="1" dirty="0" err="1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ңгейлері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kk-KZ" sz="1600" b="1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1     </a:t>
            </a:r>
            <a:r>
              <a:rPr lang="kk-KZ" sz="16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2</a:t>
            </a:r>
          </a:p>
        </p:txBody>
      </p:sp>
      <p:sp>
        <p:nvSpPr>
          <p:cNvPr id="88" name="Стрелка вправо 87"/>
          <p:cNvSpPr/>
          <p:nvPr/>
        </p:nvSpPr>
        <p:spPr>
          <a:xfrm>
            <a:off x="5933930" y="2754507"/>
            <a:ext cx="675717" cy="33436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639943" y="2026465"/>
            <a:ext cx="2243129" cy="1958829"/>
          </a:xfrm>
          <a:prstGeom prst="roundRect">
            <a:avLst>
              <a:gd name="adj" fmla="val 6505"/>
            </a:avLst>
          </a:prstGeom>
          <a:solidFill>
            <a:srgbClr val="00CC0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4667494" y="4549286"/>
            <a:ext cx="2221231" cy="2340141"/>
          </a:xfrm>
          <a:prstGeom prst="roundRect">
            <a:avLst>
              <a:gd name="adj" fmla="val 6505"/>
            </a:avLst>
          </a:prstGeom>
          <a:solidFill>
            <a:srgbClr val="00B0F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Стрелка вправо 97"/>
          <p:cNvSpPr/>
          <p:nvPr/>
        </p:nvSpPr>
        <p:spPr>
          <a:xfrm>
            <a:off x="8915072" y="3933724"/>
            <a:ext cx="495873" cy="348281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9511784" y="3437134"/>
            <a:ext cx="2383960" cy="3280861"/>
          </a:xfrm>
          <a:prstGeom prst="roundRect">
            <a:avLst>
              <a:gd name="adj" fmla="val 4884"/>
            </a:avLst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kk-KZ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</a:t>
            </a:r>
            <a:r>
              <a:rPr lang="kk-KZ" sz="12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үрлері</a:t>
            </a:r>
            <a:endParaRPr lang="kk-KZ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kk-KZ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ғылымдама</a:t>
            </a:r>
            <a:endParaRPr lang="kk-KZ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минарла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нгте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тер-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асста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лар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ста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ө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ін-өзі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ғалау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ъездерге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тысу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грессте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еренцияла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па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сылымдары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істемелік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ұмыс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ғылыми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новациялар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тенттер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әлімгерлік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калық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ызмет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сіби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уымдастыққа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үшелік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раптама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дарына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үшелік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шығармашылық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.б</a:t>
            </a:r>
            <a:r>
              <a:rPr lang="ru-RU" sz="9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9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9511784" y="1828121"/>
            <a:ext cx="2481163" cy="1517039"/>
          </a:xfrm>
          <a:prstGeom prst="roundRect">
            <a:avLst>
              <a:gd name="adj" fmla="val 6505"/>
            </a:avLst>
          </a:prstGeom>
          <a:solidFill>
            <a:srgbClr val="FFFF0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9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қыту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ны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рзімі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ысаны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керілмей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м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еру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ызметтері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өрсететі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м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еру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ұйымдары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үзеге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ыраты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лім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беру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үрі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әне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л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қыту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әтижелері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тайты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ұжат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румен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ірге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үргізіледі</a:t>
            </a:r>
            <a:endParaRPr lang="ru-RU" sz="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ына</a:t>
            </a:r>
            <a:r>
              <a:rPr lang="kk-KZ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 бірліктері </a:t>
            </a:r>
            <a:r>
              <a:rPr lang="ru-RU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СБ)</a:t>
            </a:r>
            <a:endParaRPr lang="ru-RU" sz="16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9" name="Стрелка вправо 108"/>
          <p:cNvSpPr/>
          <p:nvPr/>
        </p:nvSpPr>
        <p:spPr>
          <a:xfrm>
            <a:off x="5949582" y="5131114"/>
            <a:ext cx="675717" cy="33436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930" y="74401"/>
            <a:ext cx="622199" cy="642938"/>
          </a:xfrm>
          <a:prstGeom prst="rect">
            <a:avLst/>
          </a:prstGeom>
        </p:spPr>
      </p:pic>
      <p:sp>
        <p:nvSpPr>
          <p:cNvPr id="53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41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дициналық білім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еру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апасын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рттыру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үйелі шаралар</a:t>
            </a:r>
            <a:endParaRPr lang="ru-RU" sz="22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5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1" y="991284"/>
            <a:ext cx="11372848" cy="478288"/>
          </a:xfrm>
        </p:spPr>
        <p:txBody>
          <a:bodyPr>
            <a:normAutofit/>
          </a:bodyPr>
          <a:lstStyle/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Түлектердің білім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мен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ғдыларын тәуелсіз бағалау 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2022)</a:t>
            </a:r>
            <a:endPara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79924" y="2920785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ілім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лушылардың білім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мен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ғдыларын тәуелсіз бағалау</a:t>
            </a:r>
            <a:endPara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224287" y="4616671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әсіби стандарттарды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екіту</a:t>
            </a:r>
            <a:endPara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3315765" y="3500146"/>
            <a:ext cx="5324199" cy="727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0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Негізгі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пәндер,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fontAlgn="base"/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 курс,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542 </a:t>
            </a:r>
            <a:r>
              <a:rPr lang="ru-RU" sz="20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ілім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алушылар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0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1193" y="3500146"/>
            <a:ext cx="2977377" cy="5729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200" b="1" dirty="0" err="1" smtClean="0">
                <a:latin typeface="Times New Roman" pitchFamily="18" charset="0"/>
                <a:cs typeface="Times New Roman" pitchFamily="18" charset="0"/>
              </a:rPr>
              <a:t>Пилоттық жоба</a:t>
            </a:r>
            <a:r>
              <a:rPr lang="ru-RU" sz="2200" b="1" dirty="0" smtClean="0">
                <a:latin typeface="Times New Roman" pitchFamily="18" charset="0"/>
                <a:cs typeface="Times New Roman" pitchFamily="18" charset="0"/>
              </a:rPr>
              <a:t> 2022:</a:t>
            </a:r>
            <a:endParaRPr lang="ru-RU" sz="22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8880439" y="3481349"/>
            <a:ext cx="3057560" cy="7648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000" dirty="0" err="1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Толық ауқымды енгізу</a:t>
            </a:r>
            <a:r>
              <a:rPr lang="ru-RU" sz="2000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 2026 г.</a:t>
            </a:r>
            <a:endParaRPr lang="ru-RU" sz="22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03915" y="1562574"/>
            <a:ext cx="11147901" cy="11124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/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Барлығы:   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647 студент,                      </a:t>
            </a:r>
            <a:r>
              <a:rPr lang="ru-RU" sz="2400" b="1" dirty="0" err="1" smtClean="0">
                <a:latin typeface="Times New Roman" pitchFamily="18" charset="0"/>
                <a:cs typeface="Times New Roman" pitchFamily="18" charset="0"/>
              </a:rPr>
              <a:t>«Тапсырғандар»:     </a:t>
            </a:r>
            <a:r>
              <a:rPr lang="ru-RU" sz="24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87,4-90,8%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l" fontAlgn="base"/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        3650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терндер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                                                    </a:t>
            </a:r>
            <a:r>
              <a:rPr lang="ru-RU" sz="24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99,9</a:t>
            </a:r>
            <a:r>
              <a:rPr lang="ru-RU" sz="24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%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l" fontAlgn="base"/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                     2171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әрігер-резиденттер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,                                    </a:t>
            </a:r>
            <a:r>
              <a:rPr lang="ru-RU" sz="2400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99,9</a:t>
            </a:r>
            <a:r>
              <a:rPr lang="ru-RU" sz="24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%   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1417707" y="5229307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rgbClr val="003B89"/>
                </a:solidFill>
                <a:latin typeface="Times New Roman" pitchFamily="18" charset="0"/>
                <a:cs typeface="Times New Roman" pitchFamily="18" charset="0"/>
              </a:rPr>
              <a:t>21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әсіби 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ндарт </a:t>
            </a: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022 ж.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189064" y="5270599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rgbClr val="003B89"/>
                </a:solidFill>
                <a:latin typeface="Times New Roman" pitchFamily="18" charset="0"/>
                <a:cs typeface="Times New Roman" pitchFamily="18" charset="0"/>
              </a:rPr>
              <a:t>36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әсіби 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ндарт </a:t>
            </a: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023 ж.</a:t>
            </a:r>
            <a:endParaRPr lang="ru-RU" sz="2400" b="1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8333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дициналық білім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еру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апасын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рттыру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үйелі шаралар</a:t>
            </a:r>
            <a:endParaRPr lang="ru-RU" sz="22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/>
              <a:t>6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1" y="1203558"/>
            <a:ext cx="11372848" cy="478288"/>
          </a:xfrm>
        </p:spPr>
        <p:txBody>
          <a:bodyPr>
            <a:normAutofit/>
          </a:bodyPr>
          <a:lstStyle/>
          <a:p>
            <a:pPr fontAlgn="base"/>
            <a:r>
              <a:rPr lang="ru-RU" sz="2400" b="0" i="0" dirty="0" err="1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Пилоттық жоба</a:t>
            </a:r>
            <a:r>
              <a:rPr lang="ru-RU" sz="2400" b="0" i="0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«</a:t>
            </a:r>
            <a:r>
              <a:rPr lang="kk-KZ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Ауылға резиденттер</a:t>
            </a:r>
            <a:r>
              <a:rPr lang="kk-KZ" sz="2400" dirty="0" smtClean="0">
                <a:latin typeface="Times New Roman" pitchFamily="18" charset="0"/>
                <a:cs typeface="Times New Roman" pitchFamily="18" charset="0"/>
              </a:rPr>
              <a:t>!</a:t>
            </a:r>
            <a:r>
              <a:rPr lang="ru-RU" sz="2400" b="0" i="0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» (2022 год) </a:t>
            </a:r>
            <a:endPara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31184" y="3292020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ұмыс берушілердің білім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еру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оцесіне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қатысуы</a:t>
            </a:r>
            <a:endParaRPr lang="ru-RU" sz="24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380246" y="1854035"/>
            <a:ext cx="3318582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-айлық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тағылымдама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-117695" y="2323081"/>
            <a:ext cx="3032095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9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мандық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274243" y="1864181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77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дәрігер резиденттер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107763" y="2346405"/>
            <a:ext cx="319542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6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лыс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и 3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қала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7859231" y="1864181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56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линикалық 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за 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8161624" y="2388343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41</a:t>
            </a: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линикалық тәлімгер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1048698" y="3963597"/>
            <a:ext cx="10270197" cy="1859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ілім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беру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ағдарламаларын әзірлеу 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(ЖОО, ҒЗИ, ҰО,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олледждер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)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Сертификатта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урстар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мен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іліктілікті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арттыр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бағдарламаларын әзірле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Мемлекеттік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аттестаттау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омиссияс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(қорытынды емтихандар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)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Кәсіби стандарттарды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әзірлеу</a:t>
            </a:r>
            <a:endParaRPr lang="ru-RU" sz="2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853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дициналық білім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еру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апасын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рттыру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үйелі шаралар</a:t>
            </a:r>
            <a:endParaRPr lang="ru-RU" sz="22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7</a:t>
            </a:r>
            <a:endParaRPr lang="en-US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028" y="1010351"/>
            <a:ext cx="10638971" cy="630711"/>
          </a:xfrm>
        </p:spPr>
        <p:txBody>
          <a:bodyPr>
            <a:normAutofit fontScale="90000"/>
          </a:bodyPr>
          <a:lstStyle/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оғары және жоғары оқу орнынан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ейінг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ілім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ар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дрларды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ярлау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ағыттарының Жіктеуішіне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өзгерістер енгізу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ҚР БҒМ 2018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ылғы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3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қазандағы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№ 569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ұйрығы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400" i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="" xmlns:a16="http://schemas.microsoft.com/office/drawing/2014/main" id="{18A9581B-2290-35B1-BFB4-06704409B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8457851"/>
              </p:ext>
            </p:extLst>
          </p:nvPr>
        </p:nvGraphicFramePr>
        <p:xfrm>
          <a:off x="224287" y="3585409"/>
          <a:ext cx="4673562" cy="2066925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2048623">
                  <a:extLst>
                    <a:ext uri="{9D8B030D-6E8A-4147-A177-3AD203B41FA5}">
                      <a16:colId xmlns="" xmlns:a16="http://schemas.microsoft.com/office/drawing/2014/main" val="2730612602"/>
                    </a:ext>
                  </a:extLst>
                </a:gridCol>
                <a:gridCol w="1809333">
                  <a:extLst>
                    <a:ext uri="{9D8B030D-6E8A-4147-A177-3AD203B41FA5}">
                      <a16:colId xmlns="" xmlns:a16="http://schemas.microsoft.com/office/drawing/2014/main" val="2351165605"/>
                    </a:ext>
                  </a:extLst>
                </a:gridCol>
                <a:gridCol w="815606">
                  <a:extLst>
                    <a:ext uri="{9D8B030D-6E8A-4147-A177-3AD203B41FA5}">
                      <a16:colId xmlns="" xmlns:a16="http://schemas.microsoft.com/office/drawing/2014/main" val="165861289"/>
                    </a:ext>
                  </a:extLst>
                </a:gridCol>
              </a:tblGrid>
              <a:tr h="915422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еру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асының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ды</a:t>
                      </a:r>
                    </a:p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әне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ауы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ның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ды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әне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тауы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лықаралық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ндарттық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еру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іктеуішіндегі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код</a:t>
                      </a:r>
                      <a:endParaRPr lang="ru-RU" sz="105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832685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1</a:t>
                      </a:r>
                      <a:r>
                        <a:rPr lang="kk-KZ" sz="1200" b="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059984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7M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M101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973193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R01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а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R011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8933695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8D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101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9629163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1883739"/>
              </p:ext>
            </p:extLst>
          </p:nvPr>
        </p:nvGraphicFramePr>
        <p:xfrm>
          <a:off x="5268372" y="2358834"/>
          <a:ext cx="6693360" cy="4318120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2480796">
                  <a:extLst>
                    <a:ext uri="{9D8B030D-6E8A-4147-A177-3AD203B41FA5}">
                      <a16:colId xmlns="" xmlns:a16="http://schemas.microsoft.com/office/drawing/2014/main" val="1110246287"/>
                    </a:ext>
                  </a:extLst>
                </a:gridCol>
                <a:gridCol w="2886738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  <a:gridCol w="1325826">
                  <a:extLst>
                    <a:ext uri="{9D8B030D-6E8A-4147-A177-3AD203B41FA5}">
                      <a16:colId xmlns="" xmlns:a16="http://schemas.microsoft.com/office/drawing/2014/main" val="257584306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еру </a:t>
                      </a:r>
                      <a:r>
                        <a:rPr lang="ru-RU" sz="120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лас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r>
                        <a:rPr lang="ru-RU" sz="120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СББЖ коды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853845831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оғары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уде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алавриатт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387177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4 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йіргер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ісі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3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3409511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5  Фармация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41461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88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664960493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Үздіксіз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теграцияланған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алық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удегі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йындық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57443351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7ВМ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M101 Медицин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2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0451440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М102 Педиатрия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2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21180152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М103  Стоматология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1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2630696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оғары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қу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нынан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ейінгі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уде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гистратурад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0012262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7M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4 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йіргер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ісі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3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5691490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5  Фармац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51226300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88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4246067854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оғары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қу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нынан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ейінгі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уде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идентурад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4295727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R01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медицина)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R011 Медицин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2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1478348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оғары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қу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нынан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baseline="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ейінгі</a:t>
                      </a:r>
                      <a:r>
                        <a:rPr lang="ru-RU" sz="1200" b="0" spc="1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уде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ярлау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ғыты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торантурад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7901563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8D10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101 Медицин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2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68939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4  Сестринское дело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3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05066751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5  Фармац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16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779560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b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988</a:t>
                      </a:r>
                      <a:endParaRPr lang="ru-RU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8198614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CF5D299B-3E7D-A39D-EB9D-F1AA1B19739E}"/>
              </a:ext>
            </a:extLst>
          </p:cNvPr>
          <p:cNvSpPr txBox="1"/>
          <p:nvPr/>
        </p:nvSpPr>
        <p:spPr>
          <a:xfrm>
            <a:off x="728004" y="1947884"/>
            <a:ext cx="3944039" cy="373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 smtClean="0">
                <a:solidFill>
                  <a:schemeClr val="accent2"/>
                </a:solidFill>
              </a:rPr>
              <a:t>Қолданыстағы</a:t>
            </a:r>
            <a:endParaRPr lang="ru-RU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88EA95BF-D074-C791-9AB2-344475151227}"/>
              </a:ext>
            </a:extLst>
          </p:cNvPr>
          <p:cNvSpPr txBox="1"/>
          <p:nvPr/>
        </p:nvSpPr>
        <p:spPr>
          <a:xfrm>
            <a:off x="6623677" y="1947884"/>
            <a:ext cx="3944039" cy="373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 smtClean="0">
                <a:solidFill>
                  <a:srgbClr val="C00000"/>
                </a:solidFill>
                <a:latin typeface="Arial Narrow" panose="020B0606020202030204" pitchFamily="34" charset="0"/>
              </a:rPr>
              <a:t>Ұсынылған</a:t>
            </a:r>
            <a:endParaRPr lang="ru-RU" dirty="0">
              <a:solidFill>
                <a:srgbClr val="C00000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4690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дициналық білім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беру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апасын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рттыру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бойынша</a:t>
            </a:r>
            <a:r>
              <a:rPr lang="ru-RU" sz="22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r>
              <a:rPr lang="ru-RU" sz="22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жүйелі шаралар</a:t>
            </a:r>
            <a:endParaRPr lang="ru-RU" sz="2200" b="1" dirty="0">
              <a:solidFill>
                <a:srgbClr val="002060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8</a:t>
            </a:r>
            <a:endParaRPr lang="en-US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028" y="1010351"/>
            <a:ext cx="10638971" cy="630711"/>
          </a:xfrm>
        </p:spPr>
        <p:txBody>
          <a:bodyPr>
            <a:normAutofit fontScale="90000"/>
          </a:bodyPr>
          <a:lstStyle/>
          <a:p>
            <a:pPr fontAlgn="base"/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оғары және жоғары оқу орнынан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ейінг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ілімі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бар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адрларды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аярлау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ағыттарының Жіктеуішіне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өзгерістер енгізу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ҚР БҒМ 2018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жылғы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3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қазандағы </a:t>
            </a:r>
            <a:r>
              <a:rPr lang="ru-RU" sz="2200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№ 569 </a:t>
            </a:r>
            <a:r>
              <a:rPr lang="ru-RU" sz="2200" i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ұйрығы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)</a:t>
            </a:r>
            <a:endParaRPr lang="ru-RU" sz="2400" i="1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5738190" y="1868557"/>
            <a:ext cx="281610" cy="480943"/>
          </a:xfrm>
          <a:prstGeom prst="downArrow">
            <a:avLst/>
          </a:prstGeom>
          <a:solidFill>
            <a:srgbClr val="FFFF00"/>
          </a:solidFill>
          <a:ln>
            <a:solidFill>
              <a:srgbClr val="003B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93404" y="2366314"/>
            <a:ext cx="1127332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Қазақстан Республикасы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Білім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және ғылым министрінің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2015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жылғы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17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маусымдағы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№ 391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бұйрығы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</a:p>
          <a:p>
            <a:pPr algn="ctr"/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«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Білім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беру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қызметіне қойылатын біліктілік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талаптарын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және оларға сәйкестікті растайтын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құжаттар тізбесін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бекіту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туралы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»</a:t>
            </a:r>
          </a:p>
          <a:p>
            <a:pPr algn="ctr"/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(Қазақстан Республикасының Әділет министрлігінде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2015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жылғы 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22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шілдеде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№ 11716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болып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 </a:t>
            </a:r>
            <a:r>
              <a:rPr lang="ru-RU" sz="2000" dirty="0" err="1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тіркелді</a:t>
            </a:r>
            <a:r>
              <a:rPr lang="ru-RU" sz="2000" dirty="0" smtClean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).</a:t>
            </a:r>
            <a:endParaRPr lang="ru-RU" sz="2000" dirty="0">
              <a:solidFill>
                <a:srgbClr val="002060"/>
              </a:solidFill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4998946"/>
              </p:ext>
            </p:extLst>
          </p:nvPr>
        </p:nvGraphicFramePr>
        <p:xfrm>
          <a:off x="1537803" y="4376567"/>
          <a:ext cx="5340625" cy="1868836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5340625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алавриат</a:t>
                      </a:r>
                      <a:endParaRPr lang="ru-RU" sz="16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387177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4 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йіргер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ісі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3409511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5  Фармац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41461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B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6649604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Үздіксіз</a:t>
                      </a: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kern="1200" spc="1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нтеграцияланған</a:t>
                      </a: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kern="1200" spc="1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едициналық</a:t>
                      </a: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b="1" kern="1200" spc="1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білім</a:t>
                      </a: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беру</a:t>
                      </a:r>
                      <a:endParaRPr lang="ru-RU" sz="1600" b="1" kern="1200" spc="1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M101 Медицин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0451440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М102 Педиатр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21180152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ВМ103  Стоматолог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263069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4411827"/>
              </p:ext>
            </p:extLst>
          </p:nvPr>
        </p:nvGraphicFramePr>
        <p:xfrm>
          <a:off x="7144107" y="4030835"/>
          <a:ext cx="3756358" cy="2567164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3756358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езидентура</a:t>
                      </a:r>
                    </a:p>
                  </a:txBody>
                  <a:tcPr marL="9525" marR="9525" marT="9525" marB="9525" anchor="ctr"/>
                </a:tc>
              </a:tr>
              <a:tr h="215906">
                <a:tc>
                  <a:txBody>
                    <a:bodyPr/>
                    <a:lstStyle/>
                    <a:p>
                      <a:pPr marL="1270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7R011 Медицина</a:t>
                      </a:r>
                    </a:p>
                  </a:txBody>
                  <a:tcPr marL="9525" marR="9525" marT="9525" marB="9525" anchor="ctr"/>
                </a:tc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Магистратура</a:t>
                      </a:r>
                      <a:endParaRPr lang="ru-RU" sz="1600" b="1" kern="1200" spc="1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4 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йіргер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ісі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5691490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5  Фармац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51226300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М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4246067854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 defTabSz="914400" rtl="0" eaLnBrk="1" latinLnBrk="0" hangingPunct="1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кторантура</a:t>
                      </a:r>
                      <a:endParaRPr lang="ru-RU" sz="1600" b="1" kern="1200" spc="1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101 Медицина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68939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4 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йіргер</a:t>
                      </a:r>
                      <a:r>
                        <a:rPr lang="ru-RU" sz="1200" b="0" spc="1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spc="1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ісі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05066751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5  Фармация</a:t>
                      </a:r>
                      <a:endParaRPr lang="ru-RU" sz="1200" b="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779560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spc="1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D 106 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нсаулық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қтау</a:t>
                      </a:r>
                      <a:endParaRPr lang="ru-RU" sz="1200" b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8198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586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A2AD4DB-EEB5-FE6E-9681-990239FA8A35}"/>
              </a:ext>
            </a:extLst>
          </p:cNvPr>
          <p:cNvSpPr txBox="1"/>
          <p:nvPr/>
        </p:nvSpPr>
        <p:spPr>
          <a:xfrm>
            <a:off x="126989" y="1546278"/>
            <a:ext cx="609432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.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БП </a:t>
            </a:r>
            <a:r>
              <a:rPr lang="ru-RU" sz="12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иклінің көлемі 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6 </a:t>
            </a:r>
            <a:r>
              <a:rPr lang="ru-RU" sz="12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адемиялық кредитті</a:t>
            </a:r>
            <a:r>
              <a:rPr lang="ru-RU" sz="12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ұрайды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ың ішінде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51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кадемиялық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едит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індетті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мпонент: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зақстан тарихы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Философия, </a:t>
            </a:r>
            <a:r>
              <a:rPr lang="kk-KZ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ақ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ыс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ілі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т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ілі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қпараттық-коммуникациялық технологиялар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ағылшын тілінде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не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ынықтыру, Әлеуметтік-саяси білім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улі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ясаттану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әлеуметтану, мәдениеттану, 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сихология) </a:t>
            </a:r>
            <a:r>
              <a:rPr lang="ru-RU" sz="1200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әндеріне бөлінеді</a:t>
            </a:r>
            <a:r>
              <a:rPr lang="ru-RU" sz="1200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35DE754-5944-55ED-EC9F-2D5266B317F2}"/>
              </a:ext>
            </a:extLst>
          </p:cNvPr>
          <p:cNvSpPr txBox="1"/>
          <p:nvPr/>
        </p:nvSpPr>
        <p:spPr>
          <a:xfrm>
            <a:off x="117935" y="2505701"/>
            <a:ext cx="6094324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ru-RU" sz="800" dirty="0" smtClean="0">
                <a:latin typeface="Arial Narrow" pitchFamily="34" charset="0"/>
              </a:rPr>
              <a:t>7. ЖБП </a:t>
            </a:r>
            <a:r>
              <a:rPr lang="ru-RU" sz="800" dirty="0" err="1" smtClean="0">
                <a:latin typeface="Arial Narrow" pitchFamily="34" charset="0"/>
              </a:rPr>
              <a:t>циклінің міндетт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пәндерін оқып бітіргенне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кей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ім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алушы</a:t>
            </a:r>
            <a:r>
              <a:rPr lang="ru-RU" sz="800" dirty="0" smtClean="0">
                <a:latin typeface="Arial Narrow" pitchFamily="34" charset="0"/>
              </a:rPr>
              <a:t>: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) </a:t>
            </a:r>
            <a:r>
              <a:rPr lang="ru-RU" sz="800" dirty="0" err="1" smtClean="0">
                <a:latin typeface="Arial Narrow" pitchFamily="34" charset="0"/>
              </a:rPr>
              <a:t>ғылыми және философиялық таным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әдістерімен табиғи және әлеуметтік әлемді ғылыми ұғыну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зерделеу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амтамасыз ететін</a:t>
            </a:r>
            <a:r>
              <a:rPr lang="ru-RU" sz="800" dirty="0" smtClean="0">
                <a:latin typeface="Arial Narrow" pitchFamily="34" charset="0"/>
              </a:rPr>
              <a:t> философия </a:t>
            </a:r>
            <a:r>
              <a:rPr lang="ru-RU" sz="800" dirty="0" err="1" smtClean="0">
                <a:latin typeface="Arial Narrow" pitchFamily="34" charset="0"/>
              </a:rPr>
              <a:t>негіздер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уме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алыптасқан дүниетанымдық ұстанымдар негізінд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оршаған болмыст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ағалай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2) </a:t>
            </a:r>
            <a:r>
              <a:rPr lang="ru-RU" sz="800" dirty="0" err="1" smtClean="0">
                <a:latin typeface="Arial Narrow" pitchFamily="34" charset="0"/>
              </a:rPr>
              <a:t>мифологиялы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діни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ғылыми дүниетанымның мазмұны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өзіндік ерекшеліктер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үсіндіре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3) </a:t>
            </a:r>
            <a:r>
              <a:rPr lang="ru-RU" sz="800" dirty="0" err="1" smtClean="0">
                <a:latin typeface="Arial Narrow" pitchFamily="34" charset="0"/>
              </a:rPr>
              <a:t>әлеуметтік және өндірістік салалард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олып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атқан барлық жағдайларға өз бағасын бере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4) </a:t>
            </a:r>
            <a:r>
              <a:rPr lang="ru-RU" sz="800" dirty="0" err="1" smtClean="0">
                <a:latin typeface="Arial Narrow" pitchFamily="34" charset="0"/>
              </a:rPr>
              <a:t>Қазақстанның тарихи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дамуының негізг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кезеңдерін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заңдылықтарын және өзіндік ерекшеліг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ерең түсіну және ғылыми талда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негізінд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азаматтық ұстанымын таныт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5) </a:t>
            </a:r>
            <a:r>
              <a:rPr lang="ru-RU" sz="800" dirty="0" err="1" smtClean="0">
                <a:latin typeface="Arial Narrow" pitchFamily="34" charset="0"/>
              </a:rPr>
              <a:t>Қазақстан тарих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оқиғаларының себептері</a:t>
            </a:r>
            <a:r>
              <a:rPr lang="ru-RU" sz="800" dirty="0" smtClean="0">
                <a:latin typeface="Arial Narrow" pitchFamily="34" charset="0"/>
              </a:rPr>
              <a:t> мен </a:t>
            </a:r>
            <a:r>
              <a:rPr lang="ru-RU" sz="800" dirty="0" err="1" smtClean="0">
                <a:latin typeface="Arial Narrow" pitchFamily="34" charset="0"/>
              </a:rPr>
              <a:t>салдарлары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алда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үшін тарихи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сипаттаудың әдістері ме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әсілдерін пайдал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6) </a:t>
            </a:r>
            <a:r>
              <a:rPr lang="ru-RU" sz="800" dirty="0" err="1" smtClean="0">
                <a:latin typeface="Arial Narrow" pitchFamily="34" charset="0"/>
              </a:rPr>
              <a:t>әлеуметтан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саясаттан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мәдениеттану және психологияның негізг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ім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ескер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отырып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тұлғааралы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Әлеуметтік және кәсіби қарым-қатынастың әртүрлі салаларындағы жағдайларды бағалай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7) </a:t>
            </a:r>
            <a:r>
              <a:rPr lang="ru-RU" sz="800" dirty="0" err="1" smtClean="0">
                <a:latin typeface="Arial Narrow" pitchFamily="34" charset="0"/>
              </a:rPr>
              <a:t>интегративт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процестердің заманауи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өнімі ретінде</a:t>
            </a:r>
            <a:r>
              <a:rPr lang="ru-RU" sz="800" dirty="0" smtClean="0">
                <a:latin typeface="Arial Narrow" pitchFamily="34" charset="0"/>
              </a:rPr>
              <a:t> осы </a:t>
            </a:r>
            <a:r>
              <a:rPr lang="ru-RU" sz="800" dirty="0" err="1" smtClean="0">
                <a:latin typeface="Arial Narrow" pitchFamily="34" charset="0"/>
              </a:rPr>
              <a:t>ғылымдардың білім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синтездей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8) </a:t>
            </a:r>
            <a:r>
              <a:rPr lang="ru-RU" sz="800" dirty="0" err="1" smtClean="0">
                <a:latin typeface="Arial Narrow" pitchFamily="34" charset="0"/>
              </a:rPr>
              <a:t>нақты ғылымды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сондай-ақ бүкіл әлеуметтік-саяси кластер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зерттеудің ғылыми әдістері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тәсілдерін қолд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9) </a:t>
            </a:r>
            <a:r>
              <a:rPr lang="ru-RU" sz="800" dirty="0" err="1" smtClean="0">
                <a:latin typeface="Arial Narrow" pitchFamily="34" charset="0"/>
              </a:rPr>
              <a:t>өзінің адамгершілік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азаматтық ұстанымын дамыт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0) </a:t>
            </a:r>
            <a:r>
              <a:rPr lang="ru-RU" sz="800" dirty="0" err="1" smtClean="0">
                <a:latin typeface="Arial Narrow" pitchFamily="34" charset="0"/>
              </a:rPr>
              <a:t>қазақстандық қоғамның қоғамды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іскерлік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мәдени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құқықтық және этикалық нормаларыме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ұмыс істей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1) </a:t>
            </a:r>
            <a:r>
              <a:rPr lang="ru-RU" sz="800" dirty="0" err="1" smtClean="0">
                <a:latin typeface="Arial Narrow" pitchFamily="34" charset="0"/>
              </a:rPr>
              <a:t>жек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кәсіби бәсекеге қабілеттілігін көрсете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2) </a:t>
            </a:r>
            <a:r>
              <a:rPr lang="ru-RU" sz="800" dirty="0" err="1" smtClean="0">
                <a:latin typeface="Arial Narrow" pitchFamily="34" charset="0"/>
              </a:rPr>
              <a:t>әлемде танылған қоғамдық-гуманитарлық ғылымдар саласындағы білім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практикад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олд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3) </a:t>
            </a:r>
            <a:r>
              <a:rPr lang="ru-RU" sz="800" dirty="0" err="1" smtClean="0">
                <a:latin typeface="Arial Narrow" pitchFamily="34" charset="0"/>
              </a:rPr>
              <a:t>әдіснама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талдауд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аңдауды жүзеге асыр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4) </a:t>
            </a:r>
            <a:r>
              <a:rPr lang="ru-RU" sz="800" dirty="0" err="1" smtClean="0">
                <a:latin typeface="Arial Narrow" pitchFamily="34" charset="0"/>
              </a:rPr>
              <a:t>зертте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нәтижелерін қорытындылай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5) </a:t>
            </a:r>
            <a:r>
              <a:rPr lang="ru-RU" sz="800" dirty="0" err="1" smtClean="0">
                <a:latin typeface="Arial Narrow" pitchFamily="34" charset="0"/>
              </a:rPr>
              <a:t>жаңа білім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синтездей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</a:t>
            </a:r>
            <a:r>
              <a:rPr lang="ru-RU" sz="800" dirty="0" smtClean="0">
                <a:latin typeface="Arial Narrow" pitchFamily="34" charset="0"/>
              </a:rPr>
              <a:t>оны </a:t>
            </a:r>
            <a:r>
              <a:rPr lang="ru-RU" sz="800" dirty="0" err="1" smtClean="0">
                <a:latin typeface="Arial Narrow" pitchFamily="34" charset="0"/>
              </a:rPr>
              <a:t>гуманитарлық қоғамдық маңызы </a:t>
            </a:r>
            <a:r>
              <a:rPr lang="ru-RU" sz="800" dirty="0" smtClean="0">
                <a:latin typeface="Arial Narrow" pitchFamily="34" charset="0"/>
              </a:rPr>
              <a:t>бар </a:t>
            </a:r>
            <a:r>
              <a:rPr lang="ru-RU" sz="800" dirty="0" err="1" smtClean="0">
                <a:latin typeface="Arial Narrow" pitchFamily="34" charset="0"/>
              </a:rPr>
              <a:t>өнім түрінде ұсы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6) </a:t>
            </a:r>
            <a:r>
              <a:rPr lang="ru-RU" sz="800" dirty="0" err="1" smtClean="0">
                <a:latin typeface="Arial Narrow" pitchFamily="34" charset="0"/>
              </a:rPr>
              <a:t>тұлғааралы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мәдениетаралық және өндірістік </a:t>
            </a:r>
            <a:r>
              <a:rPr lang="ru-RU" sz="800" dirty="0" smtClean="0">
                <a:latin typeface="Arial Narrow" pitchFamily="34" charset="0"/>
              </a:rPr>
              <a:t>(</a:t>
            </a:r>
            <a:r>
              <a:rPr lang="ru-RU" sz="800" dirty="0" err="1" smtClean="0">
                <a:latin typeface="Arial Narrow" pitchFamily="34" charset="0"/>
              </a:rPr>
              <a:t>кәсіптік</a:t>
            </a:r>
            <a:r>
              <a:rPr lang="ru-RU" sz="800" dirty="0" smtClean="0">
                <a:latin typeface="Arial Narrow" pitchFamily="34" charset="0"/>
              </a:rPr>
              <a:t>) </a:t>
            </a:r>
            <a:r>
              <a:rPr lang="ru-RU" sz="800" dirty="0" err="1" smtClean="0">
                <a:latin typeface="Arial Narrow" pitchFamily="34" charset="0"/>
              </a:rPr>
              <a:t>қарым-қатынас міндеттері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шеш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үшін қаза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орыс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шет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ілдерінд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ауызш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жазбаш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нысанд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коммуникацияға түсе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7) </a:t>
            </a:r>
            <a:r>
              <a:rPr lang="ru-RU" sz="800" dirty="0" err="1" smtClean="0">
                <a:latin typeface="Arial Narrow" pitchFamily="34" charset="0"/>
              </a:rPr>
              <a:t>грамматикалық білім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үйесі негізінд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ілдік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сөйлеу құралдарын пайдалануд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үзеге асыру</a:t>
            </a:r>
            <a:r>
              <a:rPr lang="ru-RU" sz="800" dirty="0" smtClean="0">
                <a:latin typeface="Arial Narrow" pitchFamily="34" charset="0"/>
              </a:rPr>
              <a:t>; </a:t>
            </a:r>
            <a:r>
              <a:rPr lang="ru-RU" sz="800" dirty="0" err="1" smtClean="0">
                <a:latin typeface="Arial Narrow" pitchFamily="34" charset="0"/>
              </a:rPr>
              <a:t>қарым-қатынас жағдайына сәйкес ақпаратты талдау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8) </a:t>
            </a:r>
            <a:r>
              <a:rPr lang="ru-RU" sz="800" dirty="0" err="1" smtClean="0">
                <a:latin typeface="Arial Narrow" pitchFamily="34" charset="0"/>
              </a:rPr>
              <a:t>коммуникацияға қатысушылардың іс-әрекеттері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іс-әрекеттерін бағалай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19) </a:t>
            </a:r>
            <a:r>
              <a:rPr lang="ru-RU" sz="800" dirty="0" err="1" smtClean="0">
                <a:latin typeface="Arial Narrow" pitchFamily="34" charset="0"/>
              </a:rPr>
              <a:t>жек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ызметінде ақпараттық-коммуникациялық технологиялардың әртүрлі түрлерін</a:t>
            </a:r>
            <a:r>
              <a:rPr lang="ru-RU" sz="800" dirty="0" smtClean="0">
                <a:latin typeface="Arial Narrow" pitchFamily="34" charset="0"/>
              </a:rPr>
              <a:t>: </a:t>
            </a:r>
            <a:r>
              <a:rPr lang="ru-RU" sz="800" dirty="0" err="1" smtClean="0">
                <a:latin typeface="Arial Narrow" pitchFamily="34" charset="0"/>
              </a:rPr>
              <a:t>интернет-ресурстарды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ақпаратты ізде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сақта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өңде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қорғау және тарат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өніндегі бұлтты және мобиль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сервистер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пайдал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20) </a:t>
            </a:r>
            <a:r>
              <a:rPr lang="ru-RU" sz="800" dirty="0" err="1" smtClean="0">
                <a:latin typeface="Arial Narrow" pitchFamily="34" charset="0"/>
              </a:rPr>
              <a:t>өзін-өзі дамыт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мансаптық өсу үшін өмір бой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ек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ім</a:t>
            </a:r>
            <a:r>
              <a:rPr lang="ru-RU" sz="800" dirty="0" smtClean="0">
                <a:latin typeface="Arial Narrow" pitchFamily="34" charset="0"/>
              </a:rPr>
              <a:t> беру </a:t>
            </a:r>
            <a:r>
              <a:rPr lang="ru-RU" sz="800" dirty="0" err="1" smtClean="0">
                <a:latin typeface="Arial Narrow" pitchFamily="34" charset="0"/>
              </a:rPr>
              <a:t>траекториясы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құру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дене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шынықтыру әдістері </a:t>
            </a:r>
            <a:r>
              <a:rPr lang="ru-RU" sz="800" dirty="0" smtClean="0">
                <a:latin typeface="Arial Narrow" pitchFamily="34" charset="0"/>
              </a:rPr>
              <a:t>мен </a:t>
            </a:r>
            <a:r>
              <a:rPr lang="ru-RU" sz="800" dirty="0" err="1" smtClean="0">
                <a:latin typeface="Arial Narrow" pitchFamily="34" charset="0"/>
              </a:rPr>
              <a:t>құралдары арқылы толыққанды әлеуметтік және кәсіптік қызметті қамтамасыз ет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үшін салауатт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өмір салтын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ағдарл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21) </a:t>
            </a:r>
            <a:r>
              <a:rPr lang="ru-RU" sz="800" dirty="0" err="1" smtClean="0">
                <a:latin typeface="Arial Narrow" pitchFamily="34" charset="0"/>
              </a:rPr>
              <a:t>Қазақстан тарихының негізг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заңдылықтарын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философиялы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әлеуметтік-саяси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экономикалық және құқықтық білім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негіздерін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қазақ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орыс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шет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тілдеріндег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ауызш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жазбаша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нысандағы коммуникациялард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е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және түсінеді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22) </a:t>
            </a:r>
            <a:r>
              <a:rPr lang="ru-RU" sz="800" dirty="0" err="1" smtClean="0">
                <a:latin typeface="Arial Narrow" pitchFamily="34" charset="0"/>
              </a:rPr>
              <a:t>игерілген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білім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өзгеріп жатқан әлеуметтік-мәдени жағдайларда тиімді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әлеуметтендіру және бейімде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үшін қолданады</a:t>
            </a:r>
            <a:r>
              <a:rPr lang="ru-RU" sz="800" dirty="0" smtClean="0">
                <a:latin typeface="Arial Narrow" pitchFamily="34" charset="0"/>
              </a:rPr>
              <a:t>;</a:t>
            </a:r>
          </a:p>
          <a:p>
            <a:pPr fontAlgn="base"/>
            <a:r>
              <a:rPr lang="ru-RU" sz="800" dirty="0" smtClean="0">
                <a:latin typeface="Arial Narrow" pitchFamily="34" charset="0"/>
              </a:rPr>
              <a:t>      23) </a:t>
            </a:r>
            <a:r>
              <a:rPr lang="ru-RU" sz="800" dirty="0" err="1" smtClean="0">
                <a:latin typeface="Arial Narrow" pitchFamily="34" charset="0"/>
              </a:rPr>
              <a:t>әлеуметтік құбылыстарды</a:t>
            </a:r>
            <a:r>
              <a:rPr lang="ru-RU" sz="800" dirty="0" smtClean="0">
                <a:latin typeface="Arial Narrow" pitchFamily="34" charset="0"/>
              </a:rPr>
              <a:t>, </a:t>
            </a:r>
            <a:r>
              <a:rPr lang="ru-RU" sz="800" dirty="0" err="1" smtClean="0">
                <a:latin typeface="Arial Narrow" pitchFamily="34" charset="0"/>
              </a:rPr>
              <a:t>процестер</a:t>
            </a:r>
            <a:r>
              <a:rPr lang="ru-RU" sz="800" dirty="0" smtClean="0">
                <a:latin typeface="Arial Narrow" pitchFamily="34" charset="0"/>
              </a:rPr>
              <a:t> мен </a:t>
            </a:r>
            <a:r>
              <a:rPr lang="ru-RU" sz="800" dirty="0" err="1" smtClean="0">
                <a:latin typeface="Arial Narrow" pitchFamily="34" charset="0"/>
              </a:rPr>
              <a:t>проблемаларды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сандық және сапалық талдау</a:t>
            </a:r>
            <a:r>
              <a:rPr lang="ru-RU" sz="800" dirty="0" smtClean="0">
                <a:latin typeface="Arial Narrow" pitchFamily="34" charset="0"/>
              </a:rPr>
              <a:t> </a:t>
            </a:r>
            <a:r>
              <a:rPr lang="ru-RU" sz="800" dirty="0" err="1" smtClean="0">
                <a:latin typeface="Arial Narrow" pitchFamily="34" charset="0"/>
              </a:rPr>
              <a:t>дағдыларын меңгереді</a:t>
            </a:r>
            <a:r>
              <a:rPr lang="ru-RU" sz="800" dirty="0" smtClean="0">
                <a:latin typeface="Arial Narrow" pitchFamily="34" charset="0"/>
              </a:rPr>
              <a:t>.</a:t>
            </a:r>
            <a:endParaRPr lang="ru-RU" sz="800" dirty="0">
              <a:latin typeface="Arial Narrow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5A66F6E-BD58-1DFF-571A-00E815D2CD25}"/>
              </a:ext>
            </a:extLst>
          </p:cNvPr>
          <p:cNvSpPr txBox="1"/>
          <p:nvPr/>
        </p:nvSpPr>
        <p:spPr>
          <a:xfrm>
            <a:off x="6600775" y="225206"/>
            <a:ext cx="49111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Times New Roman" panose="02020603050405020304" pitchFamily="18" charset="0"/>
              </a:rPr>
              <a:t>«</a:t>
            </a: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дицина», «Педиатрия» </a:t>
            </a:r>
            <a:r>
              <a:rPr lang="ru-RU" sz="1400" b="1" dirty="0" err="1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мандықтары бойынша</a:t>
            </a: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b="1" dirty="0" err="1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қыту құзыреттері </a:t>
            </a: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н </a:t>
            </a:r>
            <a:r>
              <a:rPr lang="ru-RU" sz="1400" b="1" dirty="0" err="1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әтижелерінің тізбесі</a:t>
            </a: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D1FAD1F0-6217-1FE7-44B7-2AB3EE8842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696040"/>
              </p:ext>
            </p:extLst>
          </p:nvPr>
        </p:nvGraphicFramePr>
        <p:xfrm>
          <a:off x="6348301" y="826477"/>
          <a:ext cx="5562296" cy="393529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73563">
                  <a:extLst>
                    <a:ext uri="{9D8B030D-6E8A-4147-A177-3AD203B41FA5}">
                      <a16:colId xmlns="" xmlns:a16="http://schemas.microsoft.com/office/drawing/2014/main" val="1356193629"/>
                    </a:ext>
                  </a:extLst>
                </a:gridCol>
                <a:gridCol w="1125416">
                  <a:extLst>
                    <a:ext uri="{9D8B030D-6E8A-4147-A177-3AD203B41FA5}">
                      <a16:colId xmlns="" xmlns:a16="http://schemas.microsoft.com/office/drawing/2014/main" val="9810517"/>
                    </a:ext>
                  </a:extLst>
                </a:gridCol>
                <a:gridCol w="4163317">
                  <a:extLst>
                    <a:ext uri="{9D8B030D-6E8A-4147-A177-3AD203B41FA5}">
                      <a16:colId xmlns="" xmlns:a16="http://schemas.microsoft.com/office/drawing/2014/main" val="806053353"/>
                    </a:ext>
                  </a:extLst>
                </a:gridCol>
              </a:tblGrid>
              <a:tr h="1255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ұзыреттері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ғдарламан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қыт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әтижелері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2971668360"/>
                  </a:ext>
                </a:extLst>
              </a:tr>
              <a:tr h="1030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алп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былданға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амып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ел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атқа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нем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аңартылып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тыраты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іл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ос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ғанд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иомедицин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линик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эпидемиология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әлеуметтік-мінез-құ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ғылымдар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аласындағ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іл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рактикад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олдан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1861523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йланыстар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ациенттерме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лардың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тбасыларыме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медицина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ызметкерлеріме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и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қпарат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масуғ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ынтымақтастыққ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ның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ішінд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қпаратт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ехнология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айдалан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тырып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ұлғаар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оммуникативтік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ағды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9650663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линик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ағдылар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уру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иагностикалауғ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емдеуг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ды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уғ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ғытталға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иіст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и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іс-шара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мтиты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ти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пациент-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рталықтандырылға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үтім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23520590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әсіпқой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міндеттер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рындауғ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этик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ғида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ақтауғ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ейілділіг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652725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Жеке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даму: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здіксіз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ек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әсіби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өсу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олд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өзін-өз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ғал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өмір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ой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егізінд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апасы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нем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ақсарт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ш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жетт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сиеттер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extLst>
                  <a:ext uri="{0D108BD9-81ED-4DB2-BD59-A6C34878D82A}">
                    <a16:rowId xmlns="" xmlns:a16="http://schemas.microsoft.com/office/drawing/2014/main" val="30606246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ормативтік-құқықт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ілім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енсау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ақт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үйесінің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олданыстағ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ормативтік-құқықт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егіздер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шеңберінд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өз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іс-әрекеттер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ш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ауапкершілікт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сезін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ңтайл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медицин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ызмет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ді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мтамасыз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ет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үш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оларды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рактикалық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ызметінд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сшылыққа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ал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919338611"/>
                  </a:ext>
                </a:extLst>
              </a:tr>
              <a:tr h="48985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:</a:t>
                      </a: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ациенттердің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әтижелер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зертте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ғал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ғылыми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дәлелдерг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негізделге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емде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принциптер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бағала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және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енгізу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қабілетін</a:t>
                      </a:r>
                      <a:r>
                        <a:rPr lang="ru-RU" sz="1000" dirty="0" smtClean="0"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000" dirty="0" err="1" smtClean="0">
                          <a:effectLst/>
                          <a:latin typeface="Arial Narrow" panose="020B0606020202030204" pitchFamily="34" charset="0"/>
                        </a:rPr>
                        <a:t>көрсету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4173448201"/>
                  </a:ext>
                </a:extLst>
              </a:tr>
            </a:tbl>
          </a:graphicData>
        </a:graphic>
      </p:graphicFrame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7A3FA9A1-016C-53F5-6456-7A5109195B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8302" y="4802613"/>
            <a:ext cx="1985334" cy="59202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E37657A-C8E3-6961-AF7C-BC43353031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9468" y="5445839"/>
            <a:ext cx="1606091" cy="6411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4E1A1B0-5E30-50A0-5AAD-6C5220F72B2D}"/>
              </a:ext>
            </a:extLst>
          </p:cNvPr>
          <p:cNvSpPr txBox="1"/>
          <p:nvPr/>
        </p:nvSpPr>
        <p:spPr>
          <a:xfrm>
            <a:off x="9056340" y="6185811"/>
            <a:ext cx="28117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азвитие потенциала в рамках программ </a:t>
            </a:r>
            <a:r>
              <a:rPr lang="ru-RU" sz="12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Tempus</a:t>
            </a:r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и ERASMUS</a:t>
            </a:r>
            <a:r>
              <a:rPr lang="en-US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ЗА 15 лет</a:t>
            </a:r>
          </a:p>
        </p:txBody>
      </p:sp>
      <p:pic>
        <p:nvPicPr>
          <p:cNvPr id="1026" name="Picture 2" descr="Картинки по запросу asian medical association logo">
            <a:extLst>
              <a:ext uri="{FF2B5EF4-FFF2-40B4-BE49-F238E27FC236}">
                <a16:creationId xmlns="" xmlns:a16="http://schemas.microsoft.com/office/drawing/2014/main" id="{C3CBD701-1063-1988-DC12-35B8AA786F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50" y="5189085"/>
            <a:ext cx="882397" cy="68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="" xmlns:a16="http://schemas.microsoft.com/office/drawing/2014/main" id="{89E764C7-6FF4-E928-CED0-5B6E0B24C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301" y="6176653"/>
            <a:ext cx="2017812" cy="470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="" xmlns:a16="http://schemas.microsoft.com/office/drawing/2014/main" id="{2DF26129-F3AC-B734-F0BA-A1488BED5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099" y="5606427"/>
            <a:ext cx="882397" cy="37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1467BEAC-420A-5C04-1972-1286751DC5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23338" y="5015894"/>
            <a:ext cx="1788568" cy="461566"/>
          </a:xfrm>
          <a:prstGeom prst="rect">
            <a:avLst/>
          </a:prstGeom>
        </p:spPr>
      </p:pic>
      <p:sp>
        <p:nvSpPr>
          <p:cNvPr id="15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9</a:t>
            </a:r>
            <a:endParaRPr lang="en-US" dirty="0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83346" y="193125"/>
            <a:ext cx="4033098" cy="13215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851570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9B1EEE48-FBB1-4441-A18B-EA0D61F9D5CF}" vid="{46CCEF6C-6F35-4EC3-B141-99BB08E4FC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038</TotalTime>
  <Words>1512</Words>
  <Application>Microsoft Office PowerPoint</Application>
  <PresentationFormat>Широкоэкранный</PresentationFormat>
  <Paragraphs>423</Paragraphs>
  <Slides>12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4" baseType="lpstr">
      <vt:lpstr>Arial</vt:lpstr>
      <vt:lpstr>Arial Narrow</vt:lpstr>
      <vt:lpstr>Calibri</vt:lpstr>
      <vt:lpstr>굴림</vt:lpstr>
      <vt:lpstr>Maven Pro Medium</vt:lpstr>
      <vt:lpstr>Pompiere</vt:lpstr>
      <vt:lpstr>Roboto Condensed</vt:lpstr>
      <vt:lpstr>Times New Roman</vt:lpstr>
      <vt:lpstr>Wingdings</vt:lpstr>
      <vt:lpstr>1_Тема Office</vt:lpstr>
      <vt:lpstr>Firm Format - template</vt:lpstr>
      <vt:lpstr>think-cell Slide</vt:lpstr>
      <vt:lpstr>Презентация PowerPoint</vt:lpstr>
      <vt:lpstr> Денсаулық сақтау саласындағы білім және ғылым ұйымдары</vt:lpstr>
      <vt:lpstr>Презентация PowerPoint</vt:lpstr>
      <vt:lpstr>Презентация PowerPoint</vt:lpstr>
      <vt:lpstr>Түлектердің білімі мен дағдыларын тәуелсіз бағалау (2022)</vt:lpstr>
      <vt:lpstr>Пилоттық жоба «Ауылға резиденттер!» (2022 год) </vt:lpstr>
      <vt:lpstr>Жоғары және жоғары оқу орнынан кейінгі білімі бар кадрларды даярлау бағыттарының Жіктеуішіне өзгерістер енгізу (ҚР БҒМ 2018 жылғы 13 қазандағы № 569 бұйрығы)</vt:lpstr>
      <vt:lpstr>Жоғары және жоғары оқу орнынан кейінгі білімі бар кадрларды даярлау бағыттарының Жіктеуішіне өзгерістер енгізу (ҚР БҒМ 2018 жылғы 13 қазандағы № 569 бұйрығы)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реализации Государственной программы развития здравоохранения Республики Казахстан «Денсаулық» за 2017 год</dc:title>
  <dc:creator>Aliya S. Zhambaeva</dc:creator>
  <cp:lastModifiedBy>Кайргалиева Гульбану</cp:lastModifiedBy>
  <cp:revision>1434</cp:revision>
  <cp:lastPrinted>2022-12-14T08:43:56Z</cp:lastPrinted>
  <dcterms:created xsi:type="dcterms:W3CDTF">2018-03-12T06:10:22Z</dcterms:created>
  <dcterms:modified xsi:type="dcterms:W3CDTF">2022-12-22T03:34:12Z</dcterms:modified>
</cp:coreProperties>
</file>